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44"/>
  </p:notesMasterIdLst>
  <p:sldIdLst>
    <p:sldId id="316" r:id="rId5"/>
    <p:sldId id="394" r:id="rId6"/>
    <p:sldId id="395" r:id="rId7"/>
    <p:sldId id="406" r:id="rId8"/>
    <p:sldId id="388" r:id="rId9"/>
    <p:sldId id="366" r:id="rId10"/>
    <p:sldId id="399" r:id="rId11"/>
    <p:sldId id="385" r:id="rId12"/>
    <p:sldId id="389" r:id="rId13"/>
    <p:sldId id="400" r:id="rId14"/>
    <p:sldId id="365" r:id="rId15"/>
    <p:sldId id="396" r:id="rId16"/>
    <p:sldId id="397" r:id="rId17"/>
    <p:sldId id="364" r:id="rId18"/>
    <p:sldId id="363" r:id="rId19"/>
    <p:sldId id="373" r:id="rId20"/>
    <p:sldId id="368" r:id="rId21"/>
    <p:sldId id="369" r:id="rId22"/>
    <p:sldId id="387" r:id="rId23"/>
    <p:sldId id="401" r:id="rId24"/>
    <p:sldId id="370" r:id="rId25"/>
    <p:sldId id="371" r:id="rId26"/>
    <p:sldId id="377" r:id="rId27"/>
    <p:sldId id="372" r:id="rId28"/>
    <p:sldId id="390" r:id="rId29"/>
    <p:sldId id="392" r:id="rId30"/>
    <p:sldId id="391" r:id="rId31"/>
    <p:sldId id="375" r:id="rId32"/>
    <p:sldId id="398" r:id="rId33"/>
    <p:sldId id="376" r:id="rId34"/>
    <p:sldId id="378" r:id="rId35"/>
    <p:sldId id="382" r:id="rId36"/>
    <p:sldId id="380" r:id="rId37"/>
    <p:sldId id="384" r:id="rId38"/>
    <p:sldId id="383" r:id="rId39"/>
    <p:sldId id="403" r:id="rId40"/>
    <p:sldId id="402" r:id="rId41"/>
    <p:sldId id="404" r:id="rId42"/>
    <p:sldId id="405" r:id="rId43"/>
  </p:sldIdLst>
  <p:sldSz cx="12192000" cy="6858000"/>
  <p:notesSz cx="7315200" cy="12344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ain Section" id="{5A4723CE-5BC1-49AA-95BB-C31DFE83EB20}">
          <p14:sldIdLst>
            <p14:sldId id="316"/>
            <p14:sldId id="394"/>
            <p14:sldId id="395"/>
            <p14:sldId id="406"/>
            <p14:sldId id="388"/>
            <p14:sldId id="366"/>
            <p14:sldId id="399"/>
            <p14:sldId id="385"/>
            <p14:sldId id="389"/>
            <p14:sldId id="400"/>
            <p14:sldId id="365"/>
            <p14:sldId id="396"/>
            <p14:sldId id="397"/>
            <p14:sldId id="364"/>
            <p14:sldId id="363"/>
            <p14:sldId id="373"/>
            <p14:sldId id="368"/>
            <p14:sldId id="369"/>
            <p14:sldId id="387"/>
            <p14:sldId id="401"/>
            <p14:sldId id="370"/>
            <p14:sldId id="371"/>
            <p14:sldId id="377"/>
            <p14:sldId id="372"/>
            <p14:sldId id="390"/>
            <p14:sldId id="392"/>
            <p14:sldId id="391"/>
            <p14:sldId id="375"/>
            <p14:sldId id="398"/>
            <p14:sldId id="376"/>
            <p14:sldId id="378"/>
            <p14:sldId id="382"/>
            <p14:sldId id="380"/>
            <p14:sldId id="384"/>
            <p14:sldId id="383"/>
            <p14:sldId id="403"/>
            <p14:sldId id="402"/>
            <p14:sldId id="404"/>
            <p14:sldId id="405"/>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8893" autoAdjust="0"/>
    <p:restoredTop sz="83377" autoAdjust="0"/>
  </p:normalViewPr>
  <p:slideViewPr>
    <p:cSldViewPr snapToGrid="0">
      <p:cViewPr varScale="1">
        <p:scale>
          <a:sx n="140" d="100"/>
          <a:sy n="140" d="100"/>
        </p:scale>
        <p:origin x="594" y="114"/>
      </p:cViewPr>
      <p:guideLst/>
    </p:cSldViewPr>
  </p:slideViewPr>
  <p:outlineViewPr>
    <p:cViewPr>
      <p:scale>
        <a:sx n="33" d="100"/>
        <a:sy n="33" d="100"/>
      </p:scale>
      <p:origin x="0" y="-3666"/>
    </p:cViewPr>
  </p:outlineViewPr>
  <p:notesTextViewPr>
    <p:cViewPr>
      <p:scale>
        <a:sx n="1" d="1"/>
        <a:sy n="1" d="1"/>
      </p:scale>
      <p:origin x="0" y="0"/>
    </p:cViewPr>
  </p:notesTextViewPr>
  <p:notesViewPr>
    <p:cSldViewPr snapToGrid="0">
      <p:cViewPr varScale="1">
        <p:scale>
          <a:sx n="78" d="100"/>
          <a:sy n="78" d="100"/>
        </p:scale>
        <p:origin x="2772" y="45"/>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tableStyles" Target="tableStyle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viewProps" Target="viewProps.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Oscar Zamora" userId="fbd221bc-bd0e-4333-9244-d5a1e790e682" providerId="ADAL" clId="{C9B6E518-F3CA-4EDD-A15B-D6D506DFB0FF}"/>
    <pc:docChg chg="undo redo custSel addSld delSld modSld sldOrd modMainMaster modSection modNotesMaster">
      <pc:chgData name="Oscar Zamora" userId="fbd221bc-bd0e-4333-9244-d5a1e790e682" providerId="ADAL" clId="{C9B6E518-F3CA-4EDD-A15B-D6D506DFB0FF}" dt="2020-03-26T20:14:47.821" v="3882" actId="47"/>
      <pc:docMkLst>
        <pc:docMk/>
      </pc:docMkLst>
      <pc:sldChg chg="modSp mod">
        <pc:chgData name="Oscar Zamora" userId="fbd221bc-bd0e-4333-9244-d5a1e790e682" providerId="ADAL" clId="{C9B6E518-F3CA-4EDD-A15B-D6D506DFB0FF}" dt="2020-03-26T16:53:58.627" v="3629" actId="14100"/>
        <pc:sldMkLst>
          <pc:docMk/>
          <pc:sldMk cId="3540190099" sldId="316"/>
        </pc:sldMkLst>
        <pc:spChg chg="mod">
          <ac:chgData name="Oscar Zamora" userId="fbd221bc-bd0e-4333-9244-d5a1e790e682" providerId="ADAL" clId="{C9B6E518-F3CA-4EDD-A15B-D6D506DFB0FF}" dt="2020-03-25T20:53:28.620" v="1105" actId="113"/>
          <ac:spMkLst>
            <pc:docMk/>
            <pc:sldMk cId="3540190099" sldId="316"/>
            <ac:spMk id="4" creationId="{00000000-0000-0000-0000-000000000000}"/>
          </ac:spMkLst>
        </pc:spChg>
        <pc:spChg chg="mod">
          <ac:chgData name="Oscar Zamora" userId="fbd221bc-bd0e-4333-9244-d5a1e790e682" providerId="ADAL" clId="{C9B6E518-F3CA-4EDD-A15B-D6D506DFB0FF}" dt="2020-03-26T16:53:58.627" v="3629" actId="14100"/>
          <ac:spMkLst>
            <pc:docMk/>
            <pc:sldMk cId="3540190099" sldId="316"/>
            <ac:spMk id="305" creationId="{00000000-0000-0000-0000-000000000000}"/>
          </ac:spMkLst>
        </pc:spChg>
        <pc:grpChg chg="mod">
          <ac:chgData name="Oscar Zamora" userId="fbd221bc-bd0e-4333-9244-d5a1e790e682" providerId="ADAL" clId="{C9B6E518-F3CA-4EDD-A15B-D6D506DFB0FF}" dt="2020-03-25T21:13:27.879" v="1192" actId="962"/>
          <ac:grpSpMkLst>
            <pc:docMk/>
            <pc:sldMk cId="3540190099" sldId="316"/>
            <ac:grpSpMk id="3" creationId="{00000000-0000-0000-0000-000000000000}"/>
          </ac:grpSpMkLst>
        </pc:grpChg>
        <pc:grpChg chg="mod">
          <ac:chgData name="Oscar Zamora" userId="fbd221bc-bd0e-4333-9244-d5a1e790e682" providerId="ADAL" clId="{C9B6E518-F3CA-4EDD-A15B-D6D506DFB0FF}" dt="2020-03-25T21:13:25.390" v="1191" actId="962"/>
          <ac:grpSpMkLst>
            <pc:docMk/>
            <pc:sldMk cId="3540190099" sldId="316"/>
            <ac:grpSpMk id="53" creationId="{00000000-0000-0000-0000-000000000000}"/>
          </ac:grpSpMkLst>
        </pc:grpChg>
        <pc:graphicFrameChg chg="mod">
          <ac:chgData name="Oscar Zamora" userId="fbd221bc-bd0e-4333-9244-d5a1e790e682" providerId="ADAL" clId="{C9B6E518-F3CA-4EDD-A15B-D6D506DFB0FF}" dt="2020-03-25T21:13:21.871" v="1190" actId="962"/>
          <ac:graphicFrameMkLst>
            <pc:docMk/>
            <pc:sldMk cId="3540190099" sldId="316"/>
            <ac:graphicFrameMk id="2" creationId="{00000000-0000-0000-0000-000000000000}"/>
          </ac:graphicFrameMkLst>
        </pc:graphicFrameChg>
      </pc:sldChg>
      <pc:sldChg chg="modSp del mod modNotes">
        <pc:chgData name="Oscar Zamora" userId="fbd221bc-bd0e-4333-9244-d5a1e790e682" providerId="ADAL" clId="{C9B6E518-F3CA-4EDD-A15B-D6D506DFB0FF}" dt="2020-03-25T20:55:56.040" v="1123" actId="47"/>
        <pc:sldMkLst>
          <pc:docMk/>
          <pc:sldMk cId="169791849" sldId="361"/>
        </pc:sldMkLst>
        <pc:spChg chg="mod">
          <ac:chgData name="Oscar Zamora" userId="fbd221bc-bd0e-4333-9244-d5a1e790e682" providerId="ADAL" clId="{C9B6E518-F3CA-4EDD-A15B-D6D506DFB0FF}" dt="2020-03-25T17:39:36.518" v="109" actId="962"/>
          <ac:spMkLst>
            <pc:docMk/>
            <pc:sldMk cId="169791849" sldId="361"/>
            <ac:spMk id="2" creationId="{678459B0-9920-46B0-B26E-4DB5B36ED8DF}"/>
          </ac:spMkLst>
        </pc:spChg>
        <pc:picChg chg="mod">
          <ac:chgData name="Oscar Zamora" userId="fbd221bc-bd0e-4333-9244-d5a1e790e682" providerId="ADAL" clId="{C9B6E518-F3CA-4EDD-A15B-D6D506DFB0FF}" dt="2020-03-25T20:55:28.607" v="1115" actId="962"/>
          <ac:picMkLst>
            <pc:docMk/>
            <pc:sldMk cId="169791849" sldId="361"/>
            <ac:picMk id="4" creationId="{8560A431-06F7-4302-8F2B-61615C274883}"/>
          </ac:picMkLst>
        </pc:picChg>
      </pc:sldChg>
      <pc:sldChg chg="modSp add del mod">
        <pc:chgData name="Oscar Zamora" userId="fbd221bc-bd0e-4333-9244-d5a1e790e682" providerId="ADAL" clId="{C9B6E518-F3CA-4EDD-A15B-D6D506DFB0FF}" dt="2020-03-25T20:58:26.571" v="1145" actId="47"/>
        <pc:sldMkLst>
          <pc:docMk/>
          <pc:sldMk cId="2894430269" sldId="362"/>
        </pc:sldMkLst>
        <pc:spChg chg="mod">
          <ac:chgData name="Oscar Zamora" userId="fbd221bc-bd0e-4333-9244-d5a1e790e682" providerId="ADAL" clId="{C9B6E518-F3CA-4EDD-A15B-D6D506DFB0FF}" dt="2020-03-25T17:42:35.338" v="164" actId="962"/>
          <ac:spMkLst>
            <pc:docMk/>
            <pc:sldMk cId="2894430269" sldId="362"/>
            <ac:spMk id="2" creationId="{378EF439-E0A9-477F-AE6A-B9EF11B7D49A}"/>
          </ac:spMkLst>
        </pc:spChg>
      </pc:sldChg>
      <pc:sldChg chg="modSp mod">
        <pc:chgData name="Oscar Zamora" userId="fbd221bc-bd0e-4333-9244-d5a1e790e682" providerId="ADAL" clId="{C9B6E518-F3CA-4EDD-A15B-D6D506DFB0FF}" dt="2020-03-25T20:59:10.204" v="1156" actId="962"/>
        <pc:sldMkLst>
          <pc:docMk/>
          <pc:sldMk cId="1809661783" sldId="363"/>
        </pc:sldMkLst>
        <pc:picChg chg="mod">
          <ac:chgData name="Oscar Zamora" userId="fbd221bc-bd0e-4333-9244-d5a1e790e682" providerId="ADAL" clId="{C9B6E518-F3CA-4EDD-A15B-D6D506DFB0FF}" dt="2020-03-25T20:59:10.204" v="1156" actId="962"/>
          <ac:picMkLst>
            <pc:docMk/>
            <pc:sldMk cId="1809661783" sldId="363"/>
            <ac:picMk id="4" creationId="{4F66394C-A7DA-4568-B3DA-FFAFB2C53381}"/>
          </ac:picMkLst>
        </pc:picChg>
      </pc:sldChg>
      <pc:sldChg chg="addSp delSp modSp mod">
        <pc:chgData name="Oscar Zamora" userId="fbd221bc-bd0e-4333-9244-d5a1e790e682" providerId="ADAL" clId="{C9B6E518-F3CA-4EDD-A15B-D6D506DFB0FF}" dt="2020-03-25T21:19:50.609" v="1263" actId="962"/>
        <pc:sldMkLst>
          <pc:docMk/>
          <pc:sldMk cId="416834356" sldId="364"/>
        </pc:sldMkLst>
        <pc:spChg chg="mod">
          <ac:chgData name="Oscar Zamora" userId="fbd221bc-bd0e-4333-9244-d5a1e790e682" providerId="ADAL" clId="{C9B6E518-F3CA-4EDD-A15B-D6D506DFB0FF}" dt="2020-03-25T17:48:42.895" v="371" actId="962"/>
          <ac:spMkLst>
            <pc:docMk/>
            <pc:sldMk cId="416834356" sldId="364"/>
            <ac:spMk id="2" creationId="{260B1511-FBE3-4E57-95A4-F01D5DC0D63B}"/>
          </ac:spMkLst>
        </pc:spChg>
        <pc:spChg chg="add del mod">
          <ac:chgData name="Oscar Zamora" userId="fbd221bc-bd0e-4333-9244-d5a1e790e682" providerId="ADAL" clId="{C9B6E518-F3CA-4EDD-A15B-D6D506DFB0FF}" dt="2020-03-25T17:49:21.427" v="373" actId="11529"/>
          <ac:spMkLst>
            <pc:docMk/>
            <pc:sldMk cId="416834356" sldId="364"/>
            <ac:spMk id="3" creationId="{0B03A558-7BDA-4312-8177-45910FB3CEEC}"/>
          </ac:spMkLst>
        </pc:spChg>
        <pc:spChg chg="add mod">
          <ac:chgData name="Oscar Zamora" userId="fbd221bc-bd0e-4333-9244-d5a1e790e682" providerId="ADAL" clId="{C9B6E518-F3CA-4EDD-A15B-D6D506DFB0FF}" dt="2020-03-25T17:55:40.987" v="454" actId="207"/>
          <ac:spMkLst>
            <pc:docMk/>
            <pc:sldMk cId="416834356" sldId="364"/>
            <ac:spMk id="7" creationId="{573A58F7-3F5E-4984-9322-6025E56B56B9}"/>
          </ac:spMkLst>
        </pc:spChg>
        <pc:picChg chg="mod">
          <ac:chgData name="Oscar Zamora" userId="fbd221bc-bd0e-4333-9244-d5a1e790e682" providerId="ADAL" clId="{C9B6E518-F3CA-4EDD-A15B-D6D506DFB0FF}" dt="2020-03-25T20:59:05.556" v="1154" actId="962"/>
          <ac:picMkLst>
            <pc:docMk/>
            <pc:sldMk cId="416834356" sldId="364"/>
            <ac:picMk id="4" creationId="{C0CC82CD-C553-4AA3-98D8-2AB6FAAF0F90}"/>
          </ac:picMkLst>
        </pc:picChg>
        <pc:cxnChg chg="add mod">
          <ac:chgData name="Oscar Zamora" userId="fbd221bc-bd0e-4333-9244-d5a1e790e682" providerId="ADAL" clId="{C9B6E518-F3CA-4EDD-A15B-D6D506DFB0FF}" dt="2020-03-25T21:19:50.609" v="1263" actId="962"/>
          <ac:cxnSpMkLst>
            <pc:docMk/>
            <pc:sldMk cId="416834356" sldId="364"/>
            <ac:cxnSpMk id="6" creationId="{8BF5ABE9-DC3F-4778-9BBC-FAAA9AF2BD39}"/>
          </ac:cxnSpMkLst>
        </pc:cxnChg>
      </pc:sldChg>
      <pc:sldChg chg="modSp mod modNotes">
        <pc:chgData name="Oscar Zamora" userId="fbd221bc-bd0e-4333-9244-d5a1e790e682" providerId="ADAL" clId="{C9B6E518-F3CA-4EDD-A15B-D6D506DFB0FF}" dt="2020-03-25T20:58:51.655" v="1152" actId="962"/>
        <pc:sldMkLst>
          <pc:docMk/>
          <pc:sldMk cId="269116227" sldId="365"/>
        </pc:sldMkLst>
        <pc:spChg chg="mod">
          <ac:chgData name="Oscar Zamora" userId="fbd221bc-bd0e-4333-9244-d5a1e790e682" providerId="ADAL" clId="{C9B6E518-F3CA-4EDD-A15B-D6D506DFB0FF}" dt="2020-03-25T17:43:03.463" v="168" actId="962"/>
          <ac:spMkLst>
            <pc:docMk/>
            <pc:sldMk cId="269116227" sldId="365"/>
            <ac:spMk id="2" creationId="{19A77AD0-D141-45AB-A812-6CBD9760B403}"/>
          </ac:spMkLst>
        </pc:spChg>
        <pc:picChg chg="mod">
          <ac:chgData name="Oscar Zamora" userId="fbd221bc-bd0e-4333-9244-d5a1e790e682" providerId="ADAL" clId="{C9B6E518-F3CA-4EDD-A15B-D6D506DFB0FF}" dt="2020-03-25T20:58:51.655" v="1152" actId="962"/>
          <ac:picMkLst>
            <pc:docMk/>
            <pc:sldMk cId="269116227" sldId="365"/>
            <ac:picMk id="4" creationId="{C2313224-909C-4631-8647-8E4E08216D59}"/>
          </ac:picMkLst>
        </pc:picChg>
      </pc:sldChg>
      <pc:sldChg chg="addSp delSp modSp mod modNotes">
        <pc:chgData name="Oscar Zamora" userId="fbd221bc-bd0e-4333-9244-d5a1e790e682" providerId="ADAL" clId="{C9B6E518-F3CA-4EDD-A15B-D6D506DFB0FF}" dt="2020-03-25T20:55:19.150" v="1113" actId="962"/>
        <pc:sldMkLst>
          <pc:docMk/>
          <pc:sldMk cId="3787349062" sldId="366"/>
        </pc:sldMkLst>
        <pc:spChg chg="mod">
          <ac:chgData name="Oscar Zamora" userId="fbd221bc-bd0e-4333-9244-d5a1e790e682" providerId="ADAL" clId="{C9B6E518-F3CA-4EDD-A15B-D6D506DFB0FF}" dt="2020-03-25T17:36:40.059" v="107" actId="962"/>
          <ac:spMkLst>
            <pc:docMk/>
            <pc:sldMk cId="3787349062" sldId="366"/>
            <ac:spMk id="2" creationId="{84668DFE-516D-42B0-8D45-98EE78B71D55}"/>
          </ac:spMkLst>
        </pc:spChg>
        <pc:picChg chg="add mod">
          <ac:chgData name="Oscar Zamora" userId="fbd221bc-bd0e-4333-9244-d5a1e790e682" providerId="ADAL" clId="{C9B6E518-F3CA-4EDD-A15B-D6D506DFB0FF}" dt="2020-03-25T20:55:19.150" v="1113" actId="962"/>
          <ac:picMkLst>
            <pc:docMk/>
            <pc:sldMk cId="3787349062" sldId="366"/>
            <ac:picMk id="3" creationId="{B1611910-D870-4F9C-8A88-F1DB5E3979CF}"/>
          </ac:picMkLst>
        </pc:picChg>
        <pc:picChg chg="del">
          <ac:chgData name="Oscar Zamora" userId="fbd221bc-bd0e-4333-9244-d5a1e790e682" providerId="ADAL" clId="{C9B6E518-F3CA-4EDD-A15B-D6D506DFB0FF}" dt="2020-03-25T20:55:08.922" v="1106" actId="478"/>
          <ac:picMkLst>
            <pc:docMk/>
            <pc:sldMk cId="3787349062" sldId="366"/>
            <ac:picMk id="6" creationId="{CF06372A-2CB8-4F05-A9C3-4ABF56393660}"/>
          </ac:picMkLst>
        </pc:picChg>
      </pc:sldChg>
      <pc:sldChg chg="modSp del mod modNotes">
        <pc:chgData name="Oscar Zamora" userId="fbd221bc-bd0e-4333-9244-d5a1e790e682" providerId="ADAL" clId="{C9B6E518-F3CA-4EDD-A15B-D6D506DFB0FF}" dt="2020-03-25T21:00:16.489" v="1169" actId="47"/>
        <pc:sldMkLst>
          <pc:docMk/>
          <pc:sldMk cId="415506203" sldId="367"/>
        </pc:sldMkLst>
        <pc:spChg chg="mod">
          <ac:chgData name="Oscar Zamora" userId="fbd221bc-bd0e-4333-9244-d5a1e790e682" providerId="ADAL" clId="{C9B6E518-F3CA-4EDD-A15B-D6D506DFB0FF}" dt="2020-03-25T17:58:52.786" v="497" actId="20577"/>
          <ac:spMkLst>
            <pc:docMk/>
            <pc:sldMk cId="415506203" sldId="367"/>
            <ac:spMk id="2" creationId="{D3756673-16F7-4B0C-961F-7BD231FE8C73}"/>
          </ac:spMkLst>
        </pc:spChg>
      </pc:sldChg>
      <pc:sldChg chg="addSp delSp modSp mod">
        <pc:chgData name="Oscar Zamora" userId="fbd221bc-bd0e-4333-9244-d5a1e790e682" providerId="ADAL" clId="{C9B6E518-F3CA-4EDD-A15B-D6D506DFB0FF}" dt="2020-03-25T21:19:48.081" v="1262" actId="962"/>
        <pc:sldMkLst>
          <pc:docMk/>
          <pc:sldMk cId="3391823850" sldId="368"/>
        </pc:sldMkLst>
        <pc:spChg chg="mod">
          <ac:chgData name="Oscar Zamora" userId="fbd221bc-bd0e-4333-9244-d5a1e790e682" providerId="ADAL" clId="{C9B6E518-F3CA-4EDD-A15B-D6D506DFB0FF}" dt="2020-03-25T17:51:16.438" v="415" actId="962"/>
          <ac:spMkLst>
            <pc:docMk/>
            <pc:sldMk cId="3391823850" sldId="368"/>
            <ac:spMk id="2" creationId="{497C9FA7-047C-4727-898E-8302F5961107}"/>
          </ac:spMkLst>
        </pc:spChg>
        <pc:spChg chg="add del mod">
          <ac:chgData name="Oscar Zamora" userId="fbd221bc-bd0e-4333-9244-d5a1e790e682" providerId="ADAL" clId="{C9B6E518-F3CA-4EDD-A15B-D6D506DFB0FF}" dt="2020-03-25T17:52:27.490" v="422" actId="478"/>
          <ac:spMkLst>
            <pc:docMk/>
            <pc:sldMk cId="3391823850" sldId="368"/>
            <ac:spMk id="3" creationId="{02EAF917-6A94-4738-833B-A99CFA79DE93}"/>
          </ac:spMkLst>
        </pc:spChg>
        <pc:spChg chg="add mod">
          <ac:chgData name="Oscar Zamora" userId="fbd221bc-bd0e-4333-9244-d5a1e790e682" providerId="ADAL" clId="{C9B6E518-F3CA-4EDD-A15B-D6D506DFB0FF}" dt="2020-03-25T21:19:48.081" v="1262" actId="962"/>
          <ac:spMkLst>
            <pc:docMk/>
            <pc:sldMk cId="3391823850" sldId="368"/>
            <ac:spMk id="5" creationId="{079EC09C-413B-4EA6-81FF-E2088FF7ABD9}"/>
          </ac:spMkLst>
        </pc:spChg>
        <pc:picChg chg="mod">
          <ac:chgData name="Oscar Zamora" userId="fbd221bc-bd0e-4333-9244-d5a1e790e682" providerId="ADAL" clId="{C9B6E518-F3CA-4EDD-A15B-D6D506DFB0FF}" dt="2020-03-25T20:59:15.979" v="1158" actId="962"/>
          <ac:picMkLst>
            <pc:docMk/>
            <pc:sldMk cId="3391823850" sldId="368"/>
            <ac:picMk id="4" creationId="{DA02355E-BF2D-4972-A5CB-114FF902CD91}"/>
          </ac:picMkLst>
        </pc:picChg>
        <pc:cxnChg chg="add mod">
          <ac:chgData name="Oscar Zamora" userId="fbd221bc-bd0e-4333-9244-d5a1e790e682" providerId="ADAL" clId="{C9B6E518-F3CA-4EDD-A15B-D6D506DFB0FF}" dt="2020-03-25T21:19:46.669" v="1261" actId="962"/>
          <ac:cxnSpMkLst>
            <pc:docMk/>
            <pc:sldMk cId="3391823850" sldId="368"/>
            <ac:cxnSpMk id="8" creationId="{D7BDEF59-F464-4C68-BBB6-15CAD1397FF0}"/>
          </ac:cxnSpMkLst>
        </pc:cxnChg>
      </pc:sldChg>
      <pc:sldChg chg="addSp delSp modSp mod">
        <pc:chgData name="Oscar Zamora" userId="fbd221bc-bd0e-4333-9244-d5a1e790e682" providerId="ADAL" clId="{C9B6E518-F3CA-4EDD-A15B-D6D506DFB0FF}" dt="2020-03-25T21:19:44.300" v="1260" actId="962"/>
        <pc:sldMkLst>
          <pc:docMk/>
          <pc:sldMk cId="1357542047" sldId="369"/>
        </pc:sldMkLst>
        <pc:spChg chg="add del mod">
          <ac:chgData name="Oscar Zamora" userId="fbd221bc-bd0e-4333-9244-d5a1e790e682" providerId="ADAL" clId="{C9B6E518-F3CA-4EDD-A15B-D6D506DFB0FF}" dt="2020-03-25T21:17:49.764" v="1231" actId="478"/>
          <ac:spMkLst>
            <pc:docMk/>
            <pc:sldMk cId="1357542047" sldId="369"/>
            <ac:spMk id="2" creationId="{481FF277-E5F0-429D-925D-775DD21E5260}"/>
          </ac:spMkLst>
        </pc:spChg>
        <pc:spChg chg="add del mod">
          <ac:chgData name="Oscar Zamora" userId="fbd221bc-bd0e-4333-9244-d5a1e790e682" providerId="ADAL" clId="{C9B6E518-F3CA-4EDD-A15B-D6D506DFB0FF}" dt="2020-03-25T21:19:36.973" v="1256" actId="962"/>
          <ac:spMkLst>
            <pc:docMk/>
            <pc:sldMk cId="1357542047" sldId="369"/>
            <ac:spMk id="3" creationId="{077B2798-2FC6-456C-9CB8-3C34C9F71079}"/>
          </ac:spMkLst>
        </pc:spChg>
        <pc:spChg chg="add mod">
          <ac:chgData name="Oscar Zamora" userId="fbd221bc-bd0e-4333-9244-d5a1e790e682" providerId="ADAL" clId="{C9B6E518-F3CA-4EDD-A15B-D6D506DFB0FF}" dt="2020-03-25T21:19:40.396" v="1258" actId="962"/>
          <ac:spMkLst>
            <pc:docMk/>
            <pc:sldMk cId="1357542047" sldId="369"/>
            <ac:spMk id="5" creationId="{CEDEFFFA-C28C-49C7-BEF8-65BA8B32979A}"/>
          </ac:spMkLst>
        </pc:spChg>
        <pc:spChg chg="add mod">
          <ac:chgData name="Oscar Zamora" userId="fbd221bc-bd0e-4333-9244-d5a1e790e682" providerId="ADAL" clId="{C9B6E518-F3CA-4EDD-A15B-D6D506DFB0FF}" dt="2020-03-25T21:19:38.782" v="1257" actId="962"/>
          <ac:spMkLst>
            <pc:docMk/>
            <pc:sldMk cId="1357542047" sldId="369"/>
            <ac:spMk id="7" creationId="{E7453613-C5C8-44E5-8BB5-19A406878C47}"/>
          </ac:spMkLst>
        </pc:spChg>
        <pc:spChg chg="add del mod">
          <ac:chgData name="Oscar Zamora" userId="fbd221bc-bd0e-4333-9244-d5a1e790e682" providerId="ADAL" clId="{C9B6E518-F3CA-4EDD-A15B-D6D506DFB0FF}" dt="2020-03-25T21:19:44.300" v="1260" actId="962"/>
          <ac:spMkLst>
            <pc:docMk/>
            <pc:sldMk cId="1357542047" sldId="369"/>
            <ac:spMk id="9" creationId="{AB45A142-4255-493C-8284-5D566C121B10}"/>
          </ac:spMkLst>
        </pc:spChg>
        <pc:spChg chg="add mod">
          <ac:chgData name="Oscar Zamora" userId="fbd221bc-bd0e-4333-9244-d5a1e790e682" providerId="ADAL" clId="{C9B6E518-F3CA-4EDD-A15B-D6D506DFB0FF}" dt="2020-03-25T21:18:33.483" v="1237" actId="13244"/>
          <ac:spMkLst>
            <pc:docMk/>
            <pc:sldMk cId="1357542047" sldId="369"/>
            <ac:spMk id="13" creationId="{7D158EB4-3ECE-4188-8615-A3B9CF14FC8A}"/>
          </ac:spMkLst>
        </pc:spChg>
        <pc:spChg chg="add del mod">
          <ac:chgData name="Oscar Zamora" userId="fbd221bc-bd0e-4333-9244-d5a1e790e682" providerId="ADAL" clId="{C9B6E518-F3CA-4EDD-A15B-D6D506DFB0FF}" dt="2020-03-25T21:17:49.764" v="1231" actId="478"/>
          <ac:spMkLst>
            <pc:docMk/>
            <pc:sldMk cId="1357542047" sldId="369"/>
            <ac:spMk id="20" creationId="{FB03C765-4F96-4883-83B6-858F36110D69}"/>
          </ac:spMkLst>
        </pc:spChg>
        <pc:picChg chg="add del mod">
          <ac:chgData name="Oscar Zamora" userId="fbd221bc-bd0e-4333-9244-d5a1e790e682" providerId="ADAL" clId="{C9B6E518-F3CA-4EDD-A15B-D6D506DFB0FF}" dt="2020-03-25T21:17:52.417" v="1233" actId="478"/>
          <ac:picMkLst>
            <pc:docMk/>
            <pc:sldMk cId="1357542047" sldId="369"/>
            <ac:picMk id="4" creationId="{500E79A1-26C3-45EF-95AB-95F3E975F043}"/>
          </ac:picMkLst>
        </pc:picChg>
        <pc:cxnChg chg="add del mod">
          <ac:chgData name="Oscar Zamora" userId="fbd221bc-bd0e-4333-9244-d5a1e790e682" providerId="ADAL" clId="{C9B6E518-F3CA-4EDD-A15B-D6D506DFB0FF}" dt="2020-03-25T21:19:42.217" v="1259" actId="962"/>
          <ac:cxnSpMkLst>
            <pc:docMk/>
            <pc:sldMk cId="1357542047" sldId="369"/>
            <ac:cxnSpMk id="11" creationId="{38FB9660-F42F-4313-BBC4-47C007FE484C}"/>
          </ac:cxnSpMkLst>
        </pc:cxnChg>
        <pc:cxnChg chg="add mod">
          <ac:chgData name="Oscar Zamora" userId="fbd221bc-bd0e-4333-9244-d5a1e790e682" providerId="ADAL" clId="{C9B6E518-F3CA-4EDD-A15B-D6D506DFB0FF}" dt="2020-03-25T21:19:33.875" v="1254" actId="962"/>
          <ac:cxnSpMkLst>
            <pc:docMk/>
            <pc:sldMk cId="1357542047" sldId="369"/>
            <ac:cxnSpMk id="12" creationId="{81A20F17-17E4-42C5-A5B3-5DBC8A3F1076}"/>
          </ac:cxnSpMkLst>
        </pc:cxnChg>
        <pc:cxnChg chg="add mod">
          <ac:chgData name="Oscar Zamora" userId="fbd221bc-bd0e-4333-9244-d5a1e790e682" providerId="ADAL" clId="{C9B6E518-F3CA-4EDD-A15B-D6D506DFB0FF}" dt="2020-03-25T21:19:35.547" v="1255" actId="962"/>
          <ac:cxnSpMkLst>
            <pc:docMk/>
            <pc:sldMk cId="1357542047" sldId="369"/>
            <ac:cxnSpMk id="15" creationId="{93B6668B-CB33-41F4-8FFE-51C65297082C}"/>
          </ac:cxnSpMkLst>
        </pc:cxnChg>
      </pc:sldChg>
      <pc:sldChg chg="addSp delSp modSp mod modNotes">
        <pc:chgData name="Oscar Zamora" userId="fbd221bc-bd0e-4333-9244-d5a1e790e682" providerId="ADAL" clId="{C9B6E518-F3CA-4EDD-A15B-D6D506DFB0FF}" dt="2020-03-25T21:19:29.485" v="1251" actId="962"/>
        <pc:sldMkLst>
          <pc:docMk/>
          <pc:sldMk cId="3067263964" sldId="370"/>
        </pc:sldMkLst>
        <pc:spChg chg="mod">
          <ac:chgData name="Oscar Zamora" userId="fbd221bc-bd0e-4333-9244-d5a1e790e682" providerId="ADAL" clId="{C9B6E518-F3CA-4EDD-A15B-D6D506DFB0FF}" dt="2020-03-25T19:07:08.308" v="523" actId="27636"/>
          <ac:spMkLst>
            <pc:docMk/>
            <pc:sldMk cId="3067263964" sldId="370"/>
            <ac:spMk id="2" creationId="{25CE53AE-EE64-4F46-BA0B-3A5A360C305E}"/>
          </ac:spMkLst>
        </pc:spChg>
        <pc:spChg chg="add del mod">
          <ac:chgData name="Oscar Zamora" userId="fbd221bc-bd0e-4333-9244-d5a1e790e682" providerId="ADAL" clId="{C9B6E518-F3CA-4EDD-A15B-D6D506DFB0FF}" dt="2020-03-25T17:59:07.308" v="504" actId="22"/>
          <ac:spMkLst>
            <pc:docMk/>
            <pc:sldMk cId="3067263964" sldId="370"/>
            <ac:spMk id="7" creationId="{D6BDFFC5-7A6B-402B-8ACB-8CBDEACCA924}"/>
          </ac:spMkLst>
        </pc:spChg>
        <pc:spChg chg="add mod">
          <ac:chgData name="Oscar Zamora" userId="fbd221bc-bd0e-4333-9244-d5a1e790e682" providerId="ADAL" clId="{C9B6E518-F3CA-4EDD-A15B-D6D506DFB0FF}" dt="2020-03-25T19:06:48.470" v="520" actId="14100"/>
          <ac:spMkLst>
            <pc:docMk/>
            <pc:sldMk cId="3067263964" sldId="370"/>
            <ac:spMk id="9" creationId="{AC70BC01-3EBF-4D81-B347-2A3FDBA9EDC5}"/>
          </ac:spMkLst>
        </pc:spChg>
        <pc:picChg chg="mod">
          <ac:chgData name="Oscar Zamora" userId="fbd221bc-bd0e-4333-9244-d5a1e790e682" providerId="ADAL" clId="{C9B6E518-F3CA-4EDD-A15B-D6D506DFB0FF}" dt="2020-03-25T21:00:28.190" v="1173" actId="962"/>
          <ac:picMkLst>
            <pc:docMk/>
            <pc:sldMk cId="3067263964" sldId="370"/>
            <ac:picMk id="5" creationId="{33D56437-269C-4AFE-8762-AF1E2CE6DAEB}"/>
          </ac:picMkLst>
        </pc:picChg>
        <pc:cxnChg chg="add mod">
          <ac:chgData name="Oscar Zamora" userId="fbd221bc-bd0e-4333-9244-d5a1e790e682" providerId="ADAL" clId="{C9B6E518-F3CA-4EDD-A15B-D6D506DFB0FF}" dt="2020-03-25T21:19:29.485" v="1251" actId="962"/>
          <ac:cxnSpMkLst>
            <pc:docMk/>
            <pc:sldMk cId="3067263964" sldId="370"/>
            <ac:cxnSpMk id="8" creationId="{7343EB19-74A6-42AA-A9B9-2EECDCAE6996}"/>
          </ac:cxnSpMkLst>
        </pc:cxnChg>
      </pc:sldChg>
      <pc:sldChg chg="addSp modSp mod modNotes">
        <pc:chgData name="Oscar Zamora" userId="fbd221bc-bd0e-4333-9244-d5a1e790e682" providerId="ADAL" clId="{C9B6E518-F3CA-4EDD-A15B-D6D506DFB0FF}" dt="2020-03-25T21:19:28.023" v="1250" actId="962"/>
        <pc:sldMkLst>
          <pc:docMk/>
          <pc:sldMk cId="1289014307" sldId="371"/>
        </pc:sldMkLst>
        <pc:spChg chg="mod">
          <ac:chgData name="Oscar Zamora" userId="fbd221bc-bd0e-4333-9244-d5a1e790e682" providerId="ADAL" clId="{C9B6E518-F3CA-4EDD-A15B-D6D506DFB0FF}" dt="2020-03-25T19:10:52.555" v="630" actId="962"/>
          <ac:spMkLst>
            <pc:docMk/>
            <pc:sldMk cId="1289014307" sldId="371"/>
            <ac:spMk id="2" creationId="{7E86FDCA-B75B-4086-A59F-32E47E3AC988}"/>
          </ac:spMkLst>
        </pc:spChg>
        <pc:spChg chg="add mod">
          <ac:chgData name="Oscar Zamora" userId="fbd221bc-bd0e-4333-9244-d5a1e790e682" providerId="ADAL" clId="{C9B6E518-F3CA-4EDD-A15B-D6D506DFB0FF}" dt="2020-03-25T21:19:28.023" v="1250" actId="962"/>
          <ac:spMkLst>
            <pc:docMk/>
            <pc:sldMk cId="1289014307" sldId="371"/>
            <ac:spMk id="5" creationId="{88C9EEE8-8132-4222-A168-D47BCEC82F9C}"/>
          </ac:spMkLst>
        </pc:spChg>
        <pc:spChg chg="add mod">
          <ac:chgData name="Oscar Zamora" userId="fbd221bc-bd0e-4333-9244-d5a1e790e682" providerId="ADAL" clId="{C9B6E518-F3CA-4EDD-A15B-D6D506DFB0FF}" dt="2020-03-25T19:20:41.970" v="694" actId="962"/>
          <ac:spMkLst>
            <pc:docMk/>
            <pc:sldMk cId="1289014307" sldId="371"/>
            <ac:spMk id="7" creationId="{B263ABA7-9AC0-43B5-8127-9DE48BF48C4B}"/>
          </ac:spMkLst>
        </pc:spChg>
        <pc:spChg chg="add mod">
          <ac:chgData name="Oscar Zamora" userId="fbd221bc-bd0e-4333-9244-d5a1e790e682" providerId="ADAL" clId="{C9B6E518-F3CA-4EDD-A15B-D6D506DFB0FF}" dt="2020-03-25T19:20:41.970" v="694" actId="962"/>
          <ac:spMkLst>
            <pc:docMk/>
            <pc:sldMk cId="1289014307" sldId="371"/>
            <ac:spMk id="16" creationId="{4278708E-4E6D-4F43-91BD-3ACCB58CCB48}"/>
          </ac:spMkLst>
        </pc:spChg>
        <pc:picChg chg="mod">
          <ac:chgData name="Oscar Zamora" userId="fbd221bc-bd0e-4333-9244-d5a1e790e682" providerId="ADAL" clId="{C9B6E518-F3CA-4EDD-A15B-D6D506DFB0FF}" dt="2020-03-25T21:00:38.340" v="1175" actId="962"/>
          <ac:picMkLst>
            <pc:docMk/>
            <pc:sldMk cId="1289014307" sldId="371"/>
            <ac:picMk id="4" creationId="{7AB9E732-8169-4530-A2DD-89CF8A81486C}"/>
          </ac:picMkLst>
        </pc:picChg>
        <pc:cxnChg chg="add mod">
          <ac:chgData name="Oscar Zamora" userId="fbd221bc-bd0e-4333-9244-d5a1e790e682" providerId="ADAL" clId="{C9B6E518-F3CA-4EDD-A15B-D6D506DFB0FF}" dt="2020-03-25T19:20:45.544" v="695" actId="962"/>
          <ac:cxnSpMkLst>
            <pc:docMk/>
            <pc:sldMk cId="1289014307" sldId="371"/>
            <ac:cxnSpMk id="6" creationId="{83851FCF-363C-45F6-9959-774C9E3F9322}"/>
          </ac:cxnSpMkLst>
        </pc:cxnChg>
        <pc:cxnChg chg="add mod">
          <ac:chgData name="Oscar Zamora" userId="fbd221bc-bd0e-4333-9244-d5a1e790e682" providerId="ADAL" clId="{C9B6E518-F3CA-4EDD-A15B-D6D506DFB0FF}" dt="2020-03-25T19:20:45.544" v="695" actId="962"/>
          <ac:cxnSpMkLst>
            <pc:docMk/>
            <pc:sldMk cId="1289014307" sldId="371"/>
            <ac:cxnSpMk id="12" creationId="{8802DB89-598C-4B40-AC7C-19F44A5B6327}"/>
          </ac:cxnSpMkLst>
        </pc:cxnChg>
      </pc:sldChg>
      <pc:sldChg chg="addSp modSp mod">
        <pc:chgData name="Oscar Zamora" userId="fbd221bc-bd0e-4333-9244-d5a1e790e682" providerId="ADAL" clId="{C9B6E518-F3CA-4EDD-A15B-D6D506DFB0FF}" dt="2020-03-25T21:19:24.654" v="1248" actId="962"/>
        <pc:sldMkLst>
          <pc:docMk/>
          <pc:sldMk cId="1010873077" sldId="372"/>
        </pc:sldMkLst>
        <pc:spChg chg="mod">
          <ac:chgData name="Oscar Zamora" userId="fbd221bc-bd0e-4333-9244-d5a1e790e682" providerId="ADAL" clId="{C9B6E518-F3CA-4EDD-A15B-D6D506DFB0FF}" dt="2020-03-25T19:26:26.019" v="736" actId="962"/>
          <ac:spMkLst>
            <pc:docMk/>
            <pc:sldMk cId="1010873077" sldId="372"/>
            <ac:spMk id="2" creationId="{DF7E3E3F-008B-4969-BF3F-6B9C5BD86BDD}"/>
          </ac:spMkLst>
        </pc:spChg>
        <pc:spChg chg="add mod">
          <ac:chgData name="Oscar Zamora" userId="fbd221bc-bd0e-4333-9244-d5a1e790e682" providerId="ADAL" clId="{C9B6E518-F3CA-4EDD-A15B-D6D506DFB0FF}" dt="2020-03-25T21:19:24.654" v="1248" actId="962"/>
          <ac:spMkLst>
            <pc:docMk/>
            <pc:sldMk cId="1010873077" sldId="372"/>
            <ac:spMk id="3" creationId="{3FAB2FD6-CED4-435B-8980-60B29B150E7B}"/>
          </ac:spMkLst>
        </pc:spChg>
        <pc:spChg chg="add">
          <ac:chgData name="Oscar Zamora" userId="fbd221bc-bd0e-4333-9244-d5a1e790e682" providerId="ADAL" clId="{C9B6E518-F3CA-4EDD-A15B-D6D506DFB0FF}" dt="2020-03-25T19:26:02.732" v="728"/>
          <ac:spMkLst>
            <pc:docMk/>
            <pc:sldMk cId="1010873077" sldId="372"/>
            <ac:spMk id="7" creationId="{DF137DA6-9530-4FEC-B009-CEE821977544}"/>
          </ac:spMkLst>
        </pc:spChg>
        <pc:picChg chg="mod">
          <ac:chgData name="Oscar Zamora" userId="fbd221bc-bd0e-4333-9244-d5a1e790e682" providerId="ADAL" clId="{C9B6E518-F3CA-4EDD-A15B-D6D506DFB0FF}" dt="2020-03-25T21:02:51.571" v="1185" actId="962"/>
          <ac:picMkLst>
            <pc:docMk/>
            <pc:sldMk cId="1010873077" sldId="372"/>
            <ac:picMk id="4" creationId="{97458893-9F00-47CB-A546-18CA5A016923}"/>
          </ac:picMkLst>
        </pc:picChg>
        <pc:cxnChg chg="add">
          <ac:chgData name="Oscar Zamora" userId="fbd221bc-bd0e-4333-9244-d5a1e790e682" providerId="ADAL" clId="{C9B6E518-F3CA-4EDD-A15B-D6D506DFB0FF}" dt="2020-03-25T19:26:02.732" v="728"/>
          <ac:cxnSpMkLst>
            <pc:docMk/>
            <pc:sldMk cId="1010873077" sldId="372"/>
            <ac:cxnSpMk id="6" creationId="{4BB12624-9945-45E5-84B9-0084FEBC4A88}"/>
          </ac:cxnSpMkLst>
        </pc:cxnChg>
      </pc:sldChg>
      <pc:sldChg chg="modSp mod">
        <pc:chgData name="Oscar Zamora" userId="fbd221bc-bd0e-4333-9244-d5a1e790e682" providerId="ADAL" clId="{C9B6E518-F3CA-4EDD-A15B-D6D506DFB0FF}" dt="2020-03-25T17:51:42.180" v="418" actId="20577"/>
        <pc:sldMkLst>
          <pc:docMk/>
          <pc:sldMk cId="1106326509" sldId="373"/>
        </pc:sldMkLst>
        <pc:spChg chg="mod">
          <ac:chgData name="Oscar Zamora" userId="fbd221bc-bd0e-4333-9244-d5a1e790e682" providerId="ADAL" clId="{C9B6E518-F3CA-4EDD-A15B-D6D506DFB0FF}" dt="2020-03-25T17:51:42.180" v="418" actId="20577"/>
          <ac:spMkLst>
            <pc:docMk/>
            <pc:sldMk cId="1106326509" sldId="373"/>
            <ac:spMk id="5" creationId="{0E4723E8-1D68-4685-AFD9-A0477FF79717}"/>
          </ac:spMkLst>
        </pc:spChg>
      </pc:sldChg>
      <pc:sldChg chg="modSp add del mod">
        <pc:chgData name="Oscar Zamora" userId="fbd221bc-bd0e-4333-9244-d5a1e790e682" providerId="ADAL" clId="{C9B6E518-F3CA-4EDD-A15B-D6D506DFB0FF}" dt="2020-03-25T20:39:37.920" v="948" actId="47"/>
        <pc:sldMkLst>
          <pc:docMk/>
          <pc:sldMk cId="611599536" sldId="374"/>
        </pc:sldMkLst>
        <pc:spChg chg="mod">
          <ac:chgData name="Oscar Zamora" userId="fbd221bc-bd0e-4333-9244-d5a1e790e682" providerId="ADAL" clId="{C9B6E518-F3CA-4EDD-A15B-D6D506DFB0FF}" dt="2020-03-25T20:38:52.673" v="938" actId="962"/>
          <ac:spMkLst>
            <pc:docMk/>
            <pc:sldMk cId="611599536" sldId="374"/>
            <ac:spMk id="2" creationId="{06F05AAD-BB16-4039-BA64-9A521ABB60C4}"/>
          </ac:spMkLst>
        </pc:spChg>
      </pc:sldChg>
      <pc:sldChg chg="addSp modSp add del mod">
        <pc:chgData name="Oscar Zamora" userId="fbd221bc-bd0e-4333-9244-d5a1e790e682" providerId="ADAL" clId="{C9B6E518-F3CA-4EDD-A15B-D6D506DFB0FF}" dt="2020-03-25T21:19:20.241" v="1247" actId="962"/>
        <pc:sldMkLst>
          <pc:docMk/>
          <pc:sldMk cId="3159895862" sldId="375"/>
        </pc:sldMkLst>
        <pc:spChg chg="mod">
          <ac:chgData name="Oscar Zamora" userId="fbd221bc-bd0e-4333-9244-d5a1e790e682" providerId="ADAL" clId="{C9B6E518-F3CA-4EDD-A15B-D6D506DFB0FF}" dt="2020-03-25T19:30:14.240" v="936" actId="962"/>
          <ac:spMkLst>
            <pc:docMk/>
            <pc:sldMk cId="3159895862" sldId="375"/>
            <ac:spMk id="2" creationId="{82F902FB-BEC3-4ADA-87B8-F04BC2535E6E}"/>
          </ac:spMkLst>
        </pc:spChg>
        <pc:spChg chg="mod">
          <ac:chgData name="Oscar Zamora" userId="fbd221bc-bd0e-4333-9244-d5a1e790e682" providerId="ADAL" clId="{C9B6E518-F3CA-4EDD-A15B-D6D506DFB0FF}" dt="2020-03-25T21:04:11.437" v="1189" actId="20577"/>
          <ac:spMkLst>
            <pc:docMk/>
            <pc:sldMk cId="3159895862" sldId="375"/>
            <ac:spMk id="3" creationId="{51E099A3-C6A6-41A4-B239-30FD2F84F0CF}"/>
          </ac:spMkLst>
        </pc:spChg>
        <pc:spChg chg="add mod">
          <ac:chgData name="Oscar Zamora" userId="fbd221bc-bd0e-4333-9244-d5a1e790e682" providerId="ADAL" clId="{C9B6E518-F3CA-4EDD-A15B-D6D506DFB0FF}" dt="2020-03-25T21:19:20.241" v="1247" actId="962"/>
          <ac:spMkLst>
            <pc:docMk/>
            <pc:sldMk cId="3159895862" sldId="375"/>
            <ac:spMk id="5" creationId="{E3F58A5F-0BC8-445E-93BE-73D873B0C7C0}"/>
          </ac:spMkLst>
        </pc:spChg>
        <pc:spChg chg="add mod">
          <ac:chgData name="Oscar Zamora" userId="fbd221bc-bd0e-4333-9244-d5a1e790e682" providerId="ADAL" clId="{C9B6E518-F3CA-4EDD-A15B-D6D506DFB0FF}" dt="2020-03-25T19:30:05.978" v="934" actId="20577"/>
          <ac:spMkLst>
            <pc:docMk/>
            <pc:sldMk cId="3159895862" sldId="375"/>
            <ac:spMk id="7" creationId="{943F2EDC-C7A9-43F3-B7CE-91A82C5736D9}"/>
          </ac:spMkLst>
        </pc:spChg>
        <pc:spChg chg="add mod">
          <ac:chgData name="Oscar Zamora" userId="fbd221bc-bd0e-4333-9244-d5a1e790e682" providerId="ADAL" clId="{C9B6E518-F3CA-4EDD-A15B-D6D506DFB0FF}" dt="2020-03-25T19:30:01.227" v="929" actId="20577"/>
          <ac:spMkLst>
            <pc:docMk/>
            <pc:sldMk cId="3159895862" sldId="375"/>
            <ac:spMk id="11" creationId="{A4861B32-3ECD-429E-8735-24246717DD4C}"/>
          </ac:spMkLst>
        </pc:spChg>
        <pc:spChg chg="add mod">
          <ac:chgData name="Oscar Zamora" userId="fbd221bc-bd0e-4333-9244-d5a1e790e682" providerId="ADAL" clId="{C9B6E518-F3CA-4EDD-A15B-D6D506DFB0FF}" dt="2020-03-25T21:19:17.564" v="1246" actId="962"/>
          <ac:spMkLst>
            <pc:docMk/>
            <pc:sldMk cId="3159895862" sldId="375"/>
            <ac:spMk id="13" creationId="{B9C5D46C-E00F-40F9-9640-9F295E928A72}"/>
          </ac:spMkLst>
        </pc:spChg>
        <pc:cxnChg chg="add mod">
          <ac:chgData name="Oscar Zamora" userId="fbd221bc-bd0e-4333-9244-d5a1e790e682" providerId="ADAL" clId="{C9B6E518-F3CA-4EDD-A15B-D6D506DFB0FF}" dt="2020-03-25T19:29:41.426" v="884" actId="14100"/>
          <ac:cxnSpMkLst>
            <pc:docMk/>
            <pc:sldMk cId="3159895862" sldId="375"/>
            <ac:cxnSpMk id="6" creationId="{EF90CB13-FA90-484B-AB6E-83B045E8A9F8}"/>
          </ac:cxnSpMkLst>
        </pc:cxnChg>
        <pc:cxnChg chg="add mod">
          <ac:chgData name="Oscar Zamora" userId="fbd221bc-bd0e-4333-9244-d5a1e790e682" providerId="ADAL" clId="{C9B6E518-F3CA-4EDD-A15B-D6D506DFB0FF}" dt="2020-03-25T19:29:57.625" v="917" actId="1076"/>
          <ac:cxnSpMkLst>
            <pc:docMk/>
            <pc:sldMk cId="3159895862" sldId="375"/>
            <ac:cxnSpMk id="10" creationId="{ACEB4E82-DA99-4FA8-97AF-E6FF0189DD54}"/>
          </ac:cxnSpMkLst>
        </pc:cxnChg>
      </pc:sldChg>
      <pc:sldChg chg="addSp delSp modSp mod modNotes">
        <pc:chgData name="Oscar Zamora" userId="fbd221bc-bd0e-4333-9244-d5a1e790e682" providerId="ADAL" clId="{C9B6E518-F3CA-4EDD-A15B-D6D506DFB0FF}" dt="2020-03-25T21:19:15.892" v="1245" actId="962"/>
        <pc:sldMkLst>
          <pc:docMk/>
          <pc:sldMk cId="2155512044" sldId="376"/>
        </pc:sldMkLst>
        <pc:spChg chg="add mod">
          <ac:chgData name="Oscar Zamora" userId="fbd221bc-bd0e-4333-9244-d5a1e790e682" providerId="ADAL" clId="{C9B6E518-F3CA-4EDD-A15B-D6D506DFB0FF}" dt="2020-03-25T21:19:12.255" v="1243" actId="962"/>
          <ac:spMkLst>
            <pc:docMk/>
            <pc:sldMk cId="2155512044" sldId="376"/>
            <ac:spMk id="7" creationId="{4205E7F6-672A-4465-869B-177356A7A48F}"/>
          </ac:spMkLst>
        </pc:spChg>
        <pc:spChg chg="add del mod">
          <ac:chgData name="Oscar Zamora" userId="fbd221bc-bd0e-4333-9244-d5a1e790e682" providerId="ADAL" clId="{C9B6E518-F3CA-4EDD-A15B-D6D506DFB0FF}" dt="2020-03-25T21:19:15.892" v="1245" actId="962"/>
          <ac:spMkLst>
            <pc:docMk/>
            <pc:sldMk cId="2155512044" sldId="376"/>
            <ac:spMk id="9" creationId="{AB45A142-4255-493C-8284-5D566C121B10}"/>
          </ac:spMkLst>
        </pc:spChg>
        <pc:picChg chg="mod">
          <ac:chgData name="Oscar Zamora" userId="fbd221bc-bd0e-4333-9244-d5a1e790e682" providerId="ADAL" clId="{C9B6E518-F3CA-4EDD-A15B-D6D506DFB0FF}" dt="2020-03-25T20:40:31.584" v="956" actId="962"/>
          <ac:picMkLst>
            <pc:docMk/>
            <pc:sldMk cId="2155512044" sldId="376"/>
            <ac:picMk id="4" creationId="{7DA0A8AA-4107-4C83-8073-6833FE84B69A}"/>
          </ac:picMkLst>
        </pc:picChg>
        <pc:picChg chg="add mod">
          <ac:chgData name="Oscar Zamora" userId="fbd221bc-bd0e-4333-9244-d5a1e790e682" providerId="ADAL" clId="{C9B6E518-F3CA-4EDD-A15B-D6D506DFB0FF}" dt="2020-03-25T21:14:37.381" v="1197" actId="13244"/>
          <ac:picMkLst>
            <pc:docMk/>
            <pc:sldMk cId="2155512044" sldId="376"/>
            <ac:picMk id="10" creationId="{C44890E4-68DB-4DB4-82A3-3207AF9DA56C}"/>
          </ac:picMkLst>
        </pc:picChg>
        <pc:inkChg chg="del">
          <ac:chgData name="Oscar Zamora" userId="fbd221bc-bd0e-4333-9244-d5a1e790e682" providerId="ADAL" clId="{C9B6E518-F3CA-4EDD-A15B-D6D506DFB0FF}" dt="2020-03-25T20:40:33.736" v="957" actId="478"/>
          <ac:inkMkLst>
            <pc:docMk/>
            <pc:sldMk cId="2155512044" sldId="376"/>
            <ac:inkMk id="3" creationId="{1D0E2376-3249-4CAA-9BB8-C5BEDF1854D3}"/>
          </ac:inkMkLst>
        </pc:inkChg>
        <pc:inkChg chg="add del">
          <ac:chgData name="Oscar Zamora" userId="fbd221bc-bd0e-4333-9244-d5a1e790e682" providerId="ADAL" clId="{C9B6E518-F3CA-4EDD-A15B-D6D506DFB0FF}" dt="2020-03-25T21:14:49.905" v="1204" actId="478"/>
          <ac:inkMkLst>
            <pc:docMk/>
            <pc:sldMk cId="2155512044" sldId="376"/>
            <ac:inkMk id="5" creationId="{49C54776-5742-418C-95A0-73260C5CA366}"/>
          </ac:inkMkLst>
        </pc:inkChg>
        <pc:inkChg chg="add del">
          <ac:chgData name="Oscar Zamora" userId="fbd221bc-bd0e-4333-9244-d5a1e790e682" providerId="ADAL" clId="{C9B6E518-F3CA-4EDD-A15B-D6D506DFB0FF}" dt="2020-03-25T21:14:56.281" v="1207" actId="478"/>
          <ac:inkMkLst>
            <pc:docMk/>
            <pc:sldMk cId="2155512044" sldId="376"/>
            <ac:inkMk id="6" creationId="{7415CA93-30C9-426B-B85A-1D9AA3040133}"/>
          </ac:inkMkLst>
        </pc:inkChg>
        <pc:cxnChg chg="mod">
          <ac:chgData name="Oscar Zamora" userId="fbd221bc-bd0e-4333-9244-d5a1e790e682" providerId="ADAL" clId="{C9B6E518-F3CA-4EDD-A15B-D6D506DFB0FF}" dt="2020-03-25T21:19:14.297" v="1244" actId="962"/>
          <ac:cxnSpMkLst>
            <pc:docMk/>
            <pc:sldMk cId="2155512044" sldId="376"/>
            <ac:cxnSpMk id="11" creationId="{38FB9660-F42F-4313-BBC4-47C007FE484C}"/>
          </ac:cxnSpMkLst>
        </pc:cxnChg>
      </pc:sldChg>
      <pc:sldChg chg="addSp delSp modSp mod">
        <pc:chgData name="Oscar Zamora" userId="fbd221bc-bd0e-4333-9244-d5a1e790e682" providerId="ADAL" clId="{C9B6E518-F3CA-4EDD-A15B-D6D506DFB0FF}" dt="2020-03-25T21:19:26.556" v="1249" actId="962"/>
        <pc:sldMkLst>
          <pc:docMk/>
          <pc:sldMk cId="2218888468" sldId="377"/>
        </pc:sldMkLst>
        <pc:spChg chg="mod">
          <ac:chgData name="Oscar Zamora" userId="fbd221bc-bd0e-4333-9244-d5a1e790e682" providerId="ADAL" clId="{C9B6E518-F3CA-4EDD-A15B-D6D506DFB0FF}" dt="2020-03-25T19:25:13" v="700"/>
          <ac:spMkLst>
            <pc:docMk/>
            <pc:sldMk cId="2218888468" sldId="377"/>
            <ac:spMk id="2" creationId="{E84F2794-D239-4D92-8ED4-A443B7B4042B}"/>
          </ac:spMkLst>
        </pc:spChg>
        <pc:picChg chg="add del">
          <ac:chgData name="Oscar Zamora" userId="fbd221bc-bd0e-4333-9244-d5a1e790e682" providerId="ADAL" clId="{C9B6E518-F3CA-4EDD-A15B-D6D506DFB0FF}" dt="2020-03-25T21:02:17.425" v="1178"/>
          <ac:picMkLst>
            <pc:docMk/>
            <pc:sldMk cId="2218888468" sldId="377"/>
            <ac:picMk id="3" creationId="{CFCC3E25-DB66-4446-9A18-42B1B034AA52}"/>
          </ac:picMkLst>
        </pc:picChg>
        <pc:picChg chg="del">
          <ac:chgData name="Oscar Zamora" userId="fbd221bc-bd0e-4333-9244-d5a1e790e682" providerId="ADAL" clId="{C9B6E518-F3CA-4EDD-A15B-D6D506DFB0FF}" dt="2020-03-25T21:02:15.324" v="1176" actId="478"/>
          <ac:picMkLst>
            <pc:docMk/>
            <pc:sldMk cId="2218888468" sldId="377"/>
            <ac:picMk id="4" creationId="{F17D3106-5D9B-4135-A974-AECE6268DD53}"/>
          </ac:picMkLst>
        </pc:picChg>
        <pc:picChg chg="add mod">
          <ac:chgData name="Oscar Zamora" userId="fbd221bc-bd0e-4333-9244-d5a1e790e682" providerId="ADAL" clId="{C9B6E518-F3CA-4EDD-A15B-D6D506DFB0FF}" dt="2020-03-25T21:19:26.556" v="1249" actId="962"/>
          <ac:picMkLst>
            <pc:docMk/>
            <pc:sldMk cId="2218888468" sldId="377"/>
            <ac:picMk id="5" creationId="{6432B82A-98F2-4595-8E12-B818E1DD2569}"/>
          </ac:picMkLst>
        </pc:picChg>
      </pc:sldChg>
      <pc:sldChg chg="addSp delSp modSp mod modNotes">
        <pc:chgData name="Oscar Zamora" userId="fbd221bc-bd0e-4333-9244-d5a1e790e682" providerId="ADAL" clId="{C9B6E518-F3CA-4EDD-A15B-D6D506DFB0FF}" dt="2020-03-25T21:19:10.531" v="1242" actId="962"/>
        <pc:sldMkLst>
          <pc:docMk/>
          <pc:sldMk cId="2855558822" sldId="378"/>
        </pc:sldMkLst>
        <pc:spChg chg="mod">
          <ac:chgData name="Oscar Zamora" userId="fbd221bc-bd0e-4333-9244-d5a1e790e682" providerId="ADAL" clId="{C9B6E518-F3CA-4EDD-A15B-D6D506DFB0FF}" dt="2020-03-25T20:41:13.383" v="971" actId="962"/>
          <ac:spMkLst>
            <pc:docMk/>
            <pc:sldMk cId="2855558822" sldId="378"/>
            <ac:spMk id="2" creationId="{EB420CD5-F44A-4371-8D37-FB87FAD33FB7}"/>
          </ac:spMkLst>
        </pc:spChg>
        <pc:spChg chg="add mod">
          <ac:chgData name="Oscar Zamora" userId="fbd221bc-bd0e-4333-9244-d5a1e790e682" providerId="ADAL" clId="{C9B6E518-F3CA-4EDD-A15B-D6D506DFB0FF}" dt="2020-03-25T21:19:10.531" v="1242" actId="962"/>
          <ac:spMkLst>
            <pc:docMk/>
            <pc:sldMk cId="2855558822" sldId="378"/>
            <ac:spMk id="3" creationId="{8A2F4F2A-8FB5-4EC3-8268-C7C87D207784}"/>
          </ac:spMkLst>
        </pc:spChg>
        <pc:spChg chg="add mod">
          <ac:chgData name="Oscar Zamora" userId="fbd221bc-bd0e-4333-9244-d5a1e790e682" providerId="ADAL" clId="{C9B6E518-F3CA-4EDD-A15B-D6D506DFB0FF}" dt="2020-03-25T20:42:52.557" v="1037" actId="20577"/>
          <ac:spMkLst>
            <pc:docMk/>
            <pc:sldMk cId="2855558822" sldId="378"/>
            <ac:spMk id="12" creationId="{A040FDAB-6DAB-4017-87E4-8EF847458C6B}"/>
          </ac:spMkLst>
        </pc:spChg>
        <pc:spChg chg="add mod">
          <ac:chgData name="Oscar Zamora" userId="fbd221bc-bd0e-4333-9244-d5a1e790e682" providerId="ADAL" clId="{C9B6E518-F3CA-4EDD-A15B-D6D506DFB0FF}" dt="2020-03-25T20:43:10.663" v="1045" actId="1076"/>
          <ac:spMkLst>
            <pc:docMk/>
            <pc:sldMk cId="2855558822" sldId="378"/>
            <ac:spMk id="14" creationId="{1BC341EB-912D-4A70-A3B2-C362DBD130D4}"/>
          </ac:spMkLst>
        </pc:spChg>
        <pc:picChg chg="mod">
          <ac:chgData name="Oscar Zamora" userId="fbd221bc-bd0e-4333-9244-d5a1e790e682" providerId="ADAL" clId="{C9B6E518-F3CA-4EDD-A15B-D6D506DFB0FF}" dt="2020-03-25T20:41:15.071" v="973" actId="962"/>
          <ac:picMkLst>
            <pc:docMk/>
            <pc:sldMk cId="2855558822" sldId="378"/>
            <ac:picMk id="4" creationId="{E1E69D75-5B4A-46A3-A162-A2E6003812ED}"/>
          </ac:picMkLst>
        </pc:picChg>
        <pc:inkChg chg="del">
          <ac:chgData name="Oscar Zamora" userId="fbd221bc-bd0e-4333-9244-d5a1e790e682" providerId="ADAL" clId="{C9B6E518-F3CA-4EDD-A15B-D6D506DFB0FF}" dt="2020-03-25T20:41:04.859" v="964" actId="478"/>
          <ac:inkMkLst>
            <pc:docMk/>
            <pc:sldMk cId="2855558822" sldId="378"/>
            <ac:inkMk id="5" creationId="{45A40B15-AE84-4BC9-951E-E41AA3BCDAF1}"/>
          </ac:inkMkLst>
        </pc:inkChg>
        <pc:cxnChg chg="add mod">
          <ac:chgData name="Oscar Zamora" userId="fbd221bc-bd0e-4333-9244-d5a1e790e682" providerId="ADAL" clId="{C9B6E518-F3CA-4EDD-A15B-D6D506DFB0FF}" dt="2020-03-25T20:42:22.295" v="1004" actId="14100"/>
          <ac:cxnSpMkLst>
            <pc:docMk/>
            <pc:sldMk cId="2855558822" sldId="378"/>
            <ac:cxnSpMk id="10" creationId="{5832118C-E917-49B8-B608-04DA146D0D86}"/>
          </ac:cxnSpMkLst>
        </pc:cxnChg>
        <pc:cxnChg chg="add mod">
          <ac:chgData name="Oscar Zamora" userId="fbd221bc-bd0e-4333-9244-d5a1e790e682" providerId="ADAL" clId="{C9B6E518-F3CA-4EDD-A15B-D6D506DFB0FF}" dt="2020-03-25T20:43:13.543" v="1046" actId="14100"/>
          <ac:cxnSpMkLst>
            <pc:docMk/>
            <pc:sldMk cId="2855558822" sldId="378"/>
            <ac:cxnSpMk id="13" creationId="{78EE4A59-6777-4DE2-9A9E-6522E794B39B}"/>
          </ac:cxnSpMkLst>
        </pc:cxnChg>
      </pc:sldChg>
      <pc:sldChg chg="addSp delSp del mod">
        <pc:chgData name="Oscar Zamora" userId="fbd221bc-bd0e-4333-9244-d5a1e790e682" providerId="ADAL" clId="{C9B6E518-F3CA-4EDD-A15B-D6D506DFB0FF}" dt="2020-03-25T20:43:41.126" v="1049" actId="47"/>
        <pc:sldMkLst>
          <pc:docMk/>
          <pc:sldMk cId="806228256" sldId="379"/>
        </pc:sldMkLst>
        <pc:spChg chg="add">
          <ac:chgData name="Oscar Zamora" userId="fbd221bc-bd0e-4333-9244-d5a1e790e682" providerId="ADAL" clId="{C9B6E518-F3CA-4EDD-A15B-D6D506DFB0FF}" dt="2020-03-25T20:43:37.842" v="1048" actId="22"/>
          <ac:spMkLst>
            <pc:docMk/>
            <pc:sldMk cId="806228256" sldId="379"/>
            <ac:spMk id="6" creationId="{3205CA93-4F0C-4B47-BE7D-AA6AF286636B}"/>
          </ac:spMkLst>
        </pc:spChg>
        <pc:inkChg chg="del">
          <ac:chgData name="Oscar Zamora" userId="fbd221bc-bd0e-4333-9244-d5a1e790e682" providerId="ADAL" clId="{C9B6E518-F3CA-4EDD-A15B-D6D506DFB0FF}" dt="2020-03-25T20:43:37.352" v="1047" actId="478"/>
          <ac:inkMkLst>
            <pc:docMk/>
            <pc:sldMk cId="806228256" sldId="379"/>
            <ac:inkMk id="3" creationId="{077A55AE-3AD5-4362-89E1-7F56488917A5}"/>
          </ac:inkMkLst>
        </pc:inkChg>
      </pc:sldChg>
      <pc:sldChg chg="addSp delSp modSp mod">
        <pc:chgData name="Oscar Zamora" userId="fbd221bc-bd0e-4333-9244-d5a1e790e682" providerId="ADAL" clId="{C9B6E518-F3CA-4EDD-A15B-D6D506DFB0FF}" dt="2020-03-25T21:19:06.053" v="1240" actId="962"/>
        <pc:sldMkLst>
          <pc:docMk/>
          <pc:sldMk cId="3016747941" sldId="380"/>
        </pc:sldMkLst>
        <pc:spChg chg="mod">
          <ac:chgData name="Oscar Zamora" userId="fbd221bc-bd0e-4333-9244-d5a1e790e682" providerId="ADAL" clId="{C9B6E518-F3CA-4EDD-A15B-D6D506DFB0FF}" dt="2020-03-25T20:45:04.165" v="1058" actId="962"/>
          <ac:spMkLst>
            <pc:docMk/>
            <pc:sldMk cId="3016747941" sldId="380"/>
            <ac:spMk id="2" creationId="{D369CAB6-AFFF-4543-A84C-BF677DB7E2EB}"/>
          </ac:spMkLst>
        </pc:spChg>
        <pc:spChg chg="add mod">
          <ac:chgData name="Oscar Zamora" userId="fbd221bc-bd0e-4333-9244-d5a1e790e682" providerId="ADAL" clId="{C9B6E518-F3CA-4EDD-A15B-D6D506DFB0FF}" dt="2020-03-25T21:19:06.053" v="1240" actId="962"/>
          <ac:spMkLst>
            <pc:docMk/>
            <pc:sldMk cId="3016747941" sldId="380"/>
            <ac:spMk id="5" creationId="{D5AC9CA7-8D90-4598-A3D1-15622F733DDC}"/>
          </ac:spMkLst>
        </pc:spChg>
        <pc:picChg chg="mod">
          <ac:chgData name="Oscar Zamora" userId="fbd221bc-bd0e-4333-9244-d5a1e790e682" providerId="ADAL" clId="{C9B6E518-F3CA-4EDD-A15B-D6D506DFB0FF}" dt="2020-03-25T20:45:05.566" v="1060" actId="962"/>
          <ac:picMkLst>
            <pc:docMk/>
            <pc:sldMk cId="3016747941" sldId="380"/>
            <ac:picMk id="4" creationId="{A642C3F6-31AA-4331-9E49-678C86338A82}"/>
          </ac:picMkLst>
        </pc:picChg>
        <pc:inkChg chg="del">
          <ac:chgData name="Oscar Zamora" userId="fbd221bc-bd0e-4333-9244-d5a1e790e682" providerId="ADAL" clId="{C9B6E518-F3CA-4EDD-A15B-D6D506DFB0FF}" dt="2020-03-25T20:45:18.413" v="1061" actId="478"/>
          <ac:inkMkLst>
            <pc:docMk/>
            <pc:sldMk cId="3016747941" sldId="380"/>
            <ac:inkMk id="3" creationId="{29803188-AC34-41B9-B3C2-D433579666BD}"/>
          </ac:inkMkLst>
        </pc:inkChg>
      </pc:sldChg>
      <pc:sldChg chg="modSp del mod modShow">
        <pc:chgData name="Oscar Zamora" userId="fbd221bc-bd0e-4333-9244-d5a1e790e682" providerId="ADAL" clId="{C9B6E518-F3CA-4EDD-A15B-D6D506DFB0FF}" dt="2020-03-25T20:46:13.277" v="1066" actId="47"/>
        <pc:sldMkLst>
          <pc:docMk/>
          <pc:sldMk cId="1239490303" sldId="381"/>
        </pc:sldMkLst>
        <pc:spChg chg="mod">
          <ac:chgData name="Oscar Zamora" userId="fbd221bc-bd0e-4333-9244-d5a1e790e682" providerId="ADAL" clId="{C9B6E518-F3CA-4EDD-A15B-D6D506DFB0FF}" dt="2020-03-25T17:41:18.752" v="132"/>
          <ac:spMkLst>
            <pc:docMk/>
            <pc:sldMk cId="1239490303" sldId="381"/>
            <ac:spMk id="2" creationId="{A81022B1-EE9B-4807-967D-6D78084BDDF5}"/>
          </ac:spMkLst>
        </pc:spChg>
      </pc:sldChg>
      <pc:sldChg chg="addSp delSp modSp mod">
        <pc:chgData name="Oscar Zamora" userId="fbd221bc-bd0e-4333-9244-d5a1e790e682" providerId="ADAL" clId="{C9B6E518-F3CA-4EDD-A15B-D6D506DFB0FF}" dt="2020-03-25T21:19:08.692" v="1241" actId="962"/>
        <pc:sldMkLst>
          <pc:docMk/>
          <pc:sldMk cId="2033161798" sldId="382"/>
        </pc:sldMkLst>
        <pc:spChg chg="mod">
          <ac:chgData name="Oscar Zamora" userId="fbd221bc-bd0e-4333-9244-d5a1e790e682" providerId="ADAL" clId="{C9B6E518-F3CA-4EDD-A15B-D6D506DFB0FF}" dt="2020-03-25T20:44:49.624" v="1054" actId="962"/>
          <ac:spMkLst>
            <pc:docMk/>
            <pc:sldMk cId="2033161798" sldId="382"/>
            <ac:spMk id="2" creationId="{C3D04AB5-CD76-4806-8B78-A17CDED9E4F7}"/>
          </ac:spMkLst>
        </pc:spChg>
        <pc:spChg chg="add mod">
          <ac:chgData name="Oscar Zamora" userId="fbd221bc-bd0e-4333-9244-d5a1e790e682" providerId="ADAL" clId="{C9B6E518-F3CA-4EDD-A15B-D6D506DFB0FF}" dt="2020-03-25T21:19:08.692" v="1241" actId="962"/>
          <ac:spMkLst>
            <pc:docMk/>
            <pc:sldMk cId="2033161798" sldId="382"/>
            <ac:spMk id="5" creationId="{86B7279E-3831-48CD-9271-CDF99DB3E29C}"/>
          </ac:spMkLst>
        </pc:spChg>
        <pc:inkChg chg="del">
          <ac:chgData name="Oscar Zamora" userId="fbd221bc-bd0e-4333-9244-d5a1e790e682" providerId="ADAL" clId="{C9B6E518-F3CA-4EDD-A15B-D6D506DFB0FF}" dt="2020-03-25T20:44:36.507" v="1050" actId="478"/>
          <ac:inkMkLst>
            <pc:docMk/>
            <pc:sldMk cId="2033161798" sldId="382"/>
            <ac:inkMk id="3" creationId="{A33F8461-750E-4D53-887A-FDC323F7524E}"/>
          </ac:inkMkLst>
        </pc:inkChg>
      </pc:sldChg>
      <pc:sldChg chg="modSp">
        <pc:chgData name="Oscar Zamora" userId="fbd221bc-bd0e-4333-9244-d5a1e790e682" providerId="ADAL" clId="{C9B6E518-F3CA-4EDD-A15B-D6D506DFB0FF}" dt="2020-03-25T17:41:18.752" v="132"/>
        <pc:sldMkLst>
          <pc:docMk/>
          <pc:sldMk cId="4207839917" sldId="383"/>
        </pc:sldMkLst>
        <pc:spChg chg="mod">
          <ac:chgData name="Oscar Zamora" userId="fbd221bc-bd0e-4333-9244-d5a1e790e682" providerId="ADAL" clId="{C9B6E518-F3CA-4EDD-A15B-D6D506DFB0FF}" dt="2020-03-25T17:41:18.752" v="132"/>
          <ac:spMkLst>
            <pc:docMk/>
            <pc:sldMk cId="4207839917" sldId="383"/>
            <ac:spMk id="2" creationId="{C6EC8F48-1604-4172-9488-06117EB24CC5}"/>
          </ac:spMkLst>
        </pc:spChg>
      </pc:sldChg>
      <pc:sldChg chg="addSp delSp modSp mod">
        <pc:chgData name="Oscar Zamora" userId="fbd221bc-bd0e-4333-9244-d5a1e790e682" providerId="ADAL" clId="{C9B6E518-F3CA-4EDD-A15B-D6D506DFB0FF}" dt="2020-03-25T21:19:03.636" v="1239" actId="962"/>
        <pc:sldMkLst>
          <pc:docMk/>
          <pc:sldMk cId="2326968315" sldId="384"/>
        </pc:sldMkLst>
        <pc:spChg chg="mod">
          <ac:chgData name="Oscar Zamora" userId="fbd221bc-bd0e-4333-9244-d5a1e790e682" providerId="ADAL" clId="{C9B6E518-F3CA-4EDD-A15B-D6D506DFB0FF}" dt="2020-03-25T17:41:18.752" v="132"/>
          <ac:spMkLst>
            <pc:docMk/>
            <pc:sldMk cId="2326968315" sldId="384"/>
            <ac:spMk id="2" creationId="{FA8CA8D0-8F79-470D-90BC-2BCB3D843306}"/>
          </ac:spMkLst>
        </pc:spChg>
        <pc:spChg chg="add mod">
          <ac:chgData name="Oscar Zamora" userId="fbd221bc-bd0e-4333-9244-d5a1e790e682" providerId="ADAL" clId="{C9B6E518-F3CA-4EDD-A15B-D6D506DFB0FF}" dt="2020-03-25T21:19:03.636" v="1239" actId="962"/>
          <ac:spMkLst>
            <pc:docMk/>
            <pc:sldMk cId="2326968315" sldId="384"/>
            <ac:spMk id="5" creationId="{43A84DE3-113B-494A-BE22-7FCC317DD8DF}"/>
          </ac:spMkLst>
        </pc:spChg>
        <pc:inkChg chg="del">
          <ac:chgData name="Oscar Zamora" userId="fbd221bc-bd0e-4333-9244-d5a1e790e682" providerId="ADAL" clId="{C9B6E518-F3CA-4EDD-A15B-D6D506DFB0FF}" dt="2020-03-25T20:46:23.921" v="1067" actId="478"/>
          <ac:inkMkLst>
            <pc:docMk/>
            <pc:sldMk cId="2326968315" sldId="384"/>
            <ac:inkMk id="3" creationId="{49BE947F-E42C-4AFE-9CB9-D7D1565EB563}"/>
          </ac:inkMkLst>
        </pc:inkChg>
      </pc:sldChg>
      <pc:sldChg chg="addSp delSp modSp mod modNotes">
        <pc:chgData name="Oscar Zamora" userId="fbd221bc-bd0e-4333-9244-d5a1e790e682" providerId="ADAL" clId="{C9B6E518-F3CA-4EDD-A15B-D6D506DFB0FF}" dt="2020-03-25T20:57:28.694" v="1130" actId="962"/>
        <pc:sldMkLst>
          <pc:docMk/>
          <pc:sldMk cId="1633562159" sldId="385"/>
        </pc:sldMkLst>
        <pc:spChg chg="mod">
          <ac:chgData name="Oscar Zamora" userId="fbd221bc-bd0e-4333-9244-d5a1e790e682" providerId="ADAL" clId="{C9B6E518-F3CA-4EDD-A15B-D6D506DFB0FF}" dt="2020-03-25T17:42:38.311" v="166" actId="962"/>
          <ac:spMkLst>
            <pc:docMk/>
            <pc:sldMk cId="1633562159" sldId="385"/>
            <ac:spMk id="2" creationId="{84668DFE-516D-42B0-8D45-98EE78B71D55}"/>
          </ac:spMkLst>
        </pc:spChg>
        <pc:picChg chg="add mod">
          <ac:chgData name="Oscar Zamora" userId="fbd221bc-bd0e-4333-9244-d5a1e790e682" providerId="ADAL" clId="{C9B6E518-F3CA-4EDD-A15B-D6D506DFB0FF}" dt="2020-03-25T20:57:28.694" v="1130" actId="962"/>
          <ac:picMkLst>
            <pc:docMk/>
            <pc:sldMk cId="1633562159" sldId="385"/>
            <ac:picMk id="3" creationId="{2D8BEF54-1FD0-47EC-AC05-DB96A67CC8B8}"/>
          </ac:picMkLst>
        </pc:picChg>
        <pc:picChg chg="del mod">
          <ac:chgData name="Oscar Zamora" userId="fbd221bc-bd0e-4333-9244-d5a1e790e682" providerId="ADAL" clId="{C9B6E518-F3CA-4EDD-A15B-D6D506DFB0FF}" dt="2020-03-25T20:57:20.010" v="1124" actId="478"/>
          <ac:picMkLst>
            <pc:docMk/>
            <pc:sldMk cId="1633562159" sldId="385"/>
            <ac:picMk id="4" creationId="{1FF04873-40F2-4899-8166-014D06916099}"/>
          </ac:picMkLst>
        </pc:picChg>
      </pc:sldChg>
      <pc:sldChg chg="addSp modSp del mod">
        <pc:chgData name="Oscar Zamora" userId="fbd221bc-bd0e-4333-9244-d5a1e790e682" providerId="ADAL" clId="{C9B6E518-F3CA-4EDD-A15B-D6D506DFB0FF}" dt="2020-03-25T17:50:44.392" v="408" actId="47"/>
        <pc:sldMkLst>
          <pc:docMk/>
          <pc:sldMk cId="1586778623" sldId="386"/>
        </pc:sldMkLst>
        <pc:spChg chg="mod">
          <ac:chgData name="Oscar Zamora" userId="fbd221bc-bd0e-4333-9244-d5a1e790e682" providerId="ADAL" clId="{C9B6E518-F3CA-4EDD-A15B-D6D506DFB0FF}" dt="2020-03-25T17:50:20.245" v="405" actId="962"/>
          <ac:spMkLst>
            <pc:docMk/>
            <pc:sldMk cId="1586778623" sldId="386"/>
            <ac:spMk id="2" creationId="{378EF439-E0A9-477F-AE6A-B9EF11B7D49A}"/>
          </ac:spMkLst>
        </pc:spChg>
        <pc:spChg chg="add mod">
          <ac:chgData name="Oscar Zamora" userId="fbd221bc-bd0e-4333-9244-d5a1e790e682" providerId="ADAL" clId="{C9B6E518-F3CA-4EDD-A15B-D6D506DFB0FF}" dt="2020-03-25T17:50:36.258" v="407" actId="1076"/>
          <ac:spMkLst>
            <pc:docMk/>
            <pc:sldMk cId="1586778623" sldId="386"/>
            <ac:spMk id="3" creationId="{F7DD71CC-7F92-4110-9529-5A1B3B246170}"/>
          </ac:spMkLst>
        </pc:spChg>
      </pc:sldChg>
      <pc:sldChg chg="addSp delSp modSp mod modNotes">
        <pc:chgData name="Oscar Zamora" userId="fbd221bc-bd0e-4333-9244-d5a1e790e682" providerId="ADAL" clId="{C9B6E518-F3CA-4EDD-A15B-D6D506DFB0FF}" dt="2020-03-25T21:19:32.330" v="1253" actId="962"/>
        <pc:sldMkLst>
          <pc:docMk/>
          <pc:sldMk cId="1605585259" sldId="387"/>
        </pc:sldMkLst>
        <pc:spChg chg="add mod">
          <ac:chgData name="Oscar Zamora" userId="fbd221bc-bd0e-4333-9244-d5a1e790e682" providerId="ADAL" clId="{C9B6E518-F3CA-4EDD-A15B-D6D506DFB0FF}" dt="2020-03-25T21:15:58.457" v="1213" actId="13244"/>
          <ac:spMkLst>
            <pc:docMk/>
            <pc:sldMk cId="1605585259" sldId="387"/>
            <ac:spMk id="6" creationId="{18BD1A0D-23E0-4295-A550-57780D3DB0DA}"/>
          </ac:spMkLst>
        </pc:spChg>
        <pc:spChg chg="add mod">
          <ac:chgData name="Oscar Zamora" userId="fbd221bc-bd0e-4333-9244-d5a1e790e682" providerId="ADAL" clId="{C9B6E518-F3CA-4EDD-A15B-D6D506DFB0FF}" dt="2020-03-25T21:19:32.330" v="1253" actId="962"/>
          <ac:spMkLst>
            <pc:docMk/>
            <pc:sldMk cId="1605585259" sldId="387"/>
            <ac:spMk id="7" creationId="{FD88184B-D547-4E1F-B5E9-938C18D797F1}"/>
          </ac:spMkLst>
        </pc:spChg>
        <pc:picChg chg="mod">
          <ac:chgData name="Oscar Zamora" userId="fbd221bc-bd0e-4333-9244-d5a1e790e682" providerId="ADAL" clId="{C9B6E518-F3CA-4EDD-A15B-D6D506DFB0FF}" dt="2020-03-25T17:57:14.271" v="469" actId="1076"/>
          <ac:picMkLst>
            <pc:docMk/>
            <pc:sldMk cId="1605585259" sldId="387"/>
            <ac:picMk id="4" creationId="{C20F1651-8054-4908-888E-BF9906E36D30}"/>
          </ac:picMkLst>
        </pc:picChg>
        <pc:inkChg chg="del">
          <ac:chgData name="Oscar Zamora" userId="fbd221bc-bd0e-4333-9244-d5a1e790e682" providerId="ADAL" clId="{C9B6E518-F3CA-4EDD-A15B-D6D506DFB0FF}" dt="2020-03-25T17:57:11.843" v="468" actId="478"/>
          <ac:inkMkLst>
            <pc:docMk/>
            <pc:sldMk cId="1605585259" sldId="387"/>
            <ac:inkMk id="3" creationId="{2E347210-93F4-48F0-8CDD-025DC11367F5}"/>
          </ac:inkMkLst>
        </pc:inkChg>
        <pc:cxnChg chg="add mod">
          <ac:chgData name="Oscar Zamora" userId="fbd221bc-bd0e-4333-9244-d5a1e790e682" providerId="ADAL" clId="{C9B6E518-F3CA-4EDD-A15B-D6D506DFB0FF}" dt="2020-03-25T21:19:30.918" v="1252" actId="962"/>
          <ac:cxnSpMkLst>
            <pc:docMk/>
            <pc:sldMk cId="1605585259" sldId="387"/>
            <ac:cxnSpMk id="8" creationId="{F10FF29E-FC3E-4138-BA4C-A3A3C384BE33}"/>
          </ac:cxnSpMkLst>
        </pc:cxnChg>
      </pc:sldChg>
      <pc:sldChg chg="modSp mod">
        <pc:chgData name="Oscar Zamora" userId="fbd221bc-bd0e-4333-9244-d5a1e790e682" providerId="ADAL" clId="{C9B6E518-F3CA-4EDD-A15B-D6D506DFB0FF}" dt="2020-03-25T17:36:13.181" v="105" actId="14100"/>
        <pc:sldMkLst>
          <pc:docMk/>
          <pc:sldMk cId="337636169" sldId="388"/>
        </pc:sldMkLst>
        <pc:spChg chg="mod">
          <ac:chgData name="Oscar Zamora" userId="fbd221bc-bd0e-4333-9244-d5a1e790e682" providerId="ADAL" clId="{C9B6E518-F3CA-4EDD-A15B-D6D506DFB0FF}" dt="2020-03-25T17:36:06.621" v="103" actId="20577"/>
          <ac:spMkLst>
            <pc:docMk/>
            <pc:sldMk cId="337636169" sldId="388"/>
            <ac:spMk id="2" creationId="{4354B388-2259-4F1F-B142-739CBE157B9D}"/>
          </ac:spMkLst>
        </pc:spChg>
        <pc:spChg chg="mod">
          <ac:chgData name="Oscar Zamora" userId="fbd221bc-bd0e-4333-9244-d5a1e790e682" providerId="ADAL" clId="{C9B6E518-F3CA-4EDD-A15B-D6D506DFB0FF}" dt="2020-03-25T17:36:13.181" v="105" actId="14100"/>
          <ac:spMkLst>
            <pc:docMk/>
            <pc:sldMk cId="337636169" sldId="388"/>
            <ac:spMk id="5" creationId="{0E4723E8-1D68-4685-AFD9-A0477FF79717}"/>
          </ac:spMkLst>
        </pc:spChg>
      </pc:sldChg>
      <pc:sldChg chg="modSp mod">
        <pc:chgData name="Oscar Zamora" userId="fbd221bc-bd0e-4333-9244-d5a1e790e682" providerId="ADAL" clId="{C9B6E518-F3CA-4EDD-A15B-D6D506DFB0FF}" dt="2020-03-25T17:42:11.295" v="152" actId="114"/>
        <pc:sldMkLst>
          <pc:docMk/>
          <pc:sldMk cId="305850978" sldId="389"/>
        </pc:sldMkLst>
        <pc:spChg chg="mod">
          <ac:chgData name="Oscar Zamora" userId="fbd221bc-bd0e-4333-9244-d5a1e790e682" providerId="ADAL" clId="{C9B6E518-F3CA-4EDD-A15B-D6D506DFB0FF}" dt="2020-03-25T17:42:11.295" v="152" actId="114"/>
          <ac:spMkLst>
            <pc:docMk/>
            <pc:sldMk cId="305850978" sldId="389"/>
            <ac:spMk id="5" creationId="{0E4723E8-1D68-4685-AFD9-A0477FF79717}"/>
          </ac:spMkLst>
        </pc:spChg>
      </pc:sldChg>
      <pc:sldChg chg="modSp mod">
        <pc:chgData name="Oscar Zamora" userId="fbd221bc-bd0e-4333-9244-d5a1e790e682" providerId="ADAL" clId="{C9B6E518-F3CA-4EDD-A15B-D6D506DFB0FF}" dt="2020-03-25T19:26:47.364" v="746" actId="20577"/>
        <pc:sldMkLst>
          <pc:docMk/>
          <pc:sldMk cId="1845375147" sldId="390"/>
        </pc:sldMkLst>
        <pc:spChg chg="mod">
          <ac:chgData name="Oscar Zamora" userId="fbd221bc-bd0e-4333-9244-d5a1e790e682" providerId="ADAL" clId="{C9B6E518-F3CA-4EDD-A15B-D6D506DFB0FF}" dt="2020-03-25T19:26:36.658" v="740" actId="20577"/>
          <ac:spMkLst>
            <pc:docMk/>
            <pc:sldMk cId="1845375147" sldId="390"/>
            <ac:spMk id="2" creationId="{4354B388-2259-4F1F-B142-739CBE157B9D}"/>
          </ac:spMkLst>
        </pc:spChg>
        <pc:spChg chg="mod">
          <ac:chgData name="Oscar Zamora" userId="fbd221bc-bd0e-4333-9244-d5a1e790e682" providerId="ADAL" clId="{C9B6E518-F3CA-4EDD-A15B-D6D506DFB0FF}" dt="2020-03-25T19:26:47.364" v="746" actId="20577"/>
          <ac:spMkLst>
            <pc:docMk/>
            <pc:sldMk cId="1845375147" sldId="390"/>
            <ac:spMk id="5" creationId="{0E4723E8-1D68-4685-AFD9-A0477FF79717}"/>
          </ac:spMkLst>
        </pc:spChg>
      </pc:sldChg>
      <pc:sldChg chg="modSp add del mod">
        <pc:chgData name="Oscar Zamora" userId="fbd221bc-bd0e-4333-9244-d5a1e790e682" providerId="ADAL" clId="{C9B6E518-F3CA-4EDD-A15B-D6D506DFB0FF}" dt="2020-03-25T19:28:42.042" v="874" actId="20577"/>
        <pc:sldMkLst>
          <pc:docMk/>
          <pc:sldMk cId="494809007" sldId="391"/>
        </pc:sldMkLst>
        <pc:spChg chg="mod">
          <ac:chgData name="Oscar Zamora" userId="fbd221bc-bd0e-4333-9244-d5a1e790e682" providerId="ADAL" clId="{C9B6E518-F3CA-4EDD-A15B-D6D506DFB0FF}" dt="2020-03-25T17:44:01.480" v="216" actId="27636"/>
          <ac:spMkLst>
            <pc:docMk/>
            <pc:sldMk cId="494809007" sldId="391"/>
            <ac:spMk id="2" creationId="{4354B388-2259-4F1F-B142-739CBE157B9D}"/>
          </ac:spMkLst>
        </pc:spChg>
        <pc:spChg chg="mod">
          <ac:chgData name="Oscar Zamora" userId="fbd221bc-bd0e-4333-9244-d5a1e790e682" providerId="ADAL" clId="{C9B6E518-F3CA-4EDD-A15B-D6D506DFB0FF}" dt="2020-03-25T19:28:42.042" v="874" actId="20577"/>
          <ac:spMkLst>
            <pc:docMk/>
            <pc:sldMk cId="494809007" sldId="391"/>
            <ac:spMk id="5" creationId="{0E4723E8-1D68-4685-AFD9-A0477FF79717}"/>
          </ac:spMkLst>
        </pc:spChg>
      </pc:sldChg>
      <pc:sldChg chg="modSp mod">
        <pc:chgData name="Oscar Zamora" userId="fbd221bc-bd0e-4333-9244-d5a1e790e682" providerId="ADAL" clId="{C9B6E518-F3CA-4EDD-A15B-D6D506DFB0FF}" dt="2020-03-25T19:27:14.115" v="754" actId="962"/>
        <pc:sldMkLst>
          <pc:docMk/>
          <pc:sldMk cId="1937099985" sldId="392"/>
        </pc:sldMkLst>
        <pc:picChg chg="mod">
          <ac:chgData name="Oscar Zamora" userId="fbd221bc-bd0e-4333-9244-d5a1e790e682" providerId="ADAL" clId="{C9B6E518-F3CA-4EDD-A15B-D6D506DFB0FF}" dt="2020-03-25T19:27:14.115" v="754" actId="962"/>
          <ac:picMkLst>
            <pc:docMk/>
            <pc:sldMk cId="1937099985" sldId="392"/>
            <ac:picMk id="5" creationId="{54FC0951-CE2F-4E9C-9769-CE73F3B5568A}"/>
          </ac:picMkLst>
        </pc:picChg>
      </pc:sldChg>
      <pc:sldChg chg="delSp modSp add del mod">
        <pc:chgData name="Oscar Zamora" userId="fbd221bc-bd0e-4333-9244-d5a1e790e682" providerId="ADAL" clId="{C9B6E518-F3CA-4EDD-A15B-D6D506DFB0FF}" dt="2020-03-25T17:34:14.901" v="43" actId="47"/>
        <pc:sldMkLst>
          <pc:docMk/>
          <pc:sldMk cId="2854893641" sldId="393"/>
        </pc:sldMkLst>
        <pc:spChg chg="mod">
          <ac:chgData name="Oscar Zamora" userId="fbd221bc-bd0e-4333-9244-d5a1e790e682" providerId="ADAL" clId="{C9B6E518-F3CA-4EDD-A15B-D6D506DFB0FF}" dt="2020-03-25T17:34:03.870" v="39"/>
          <ac:spMkLst>
            <pc:docMk/>
            <pc:sldMk cId="2854893641" sldId="393"/>
            <ac:spMk id="4" creationId="{00000000-0000-0000-0000-000000000000}"/>
          </ac:spMkLst>
        </pc:spChg>
        <pc:spChg chg="del">
          <ac:chgData name="Oscar Zamora" userId="fbd221bc-bd0e-4333-9244-d5a1e790e682" providerId="ADAL" clId="{C9B6E518-F3CA-4EDD-A15B-D6D506DFB0FF}" dt="2020-03-25T17:34:07.274" v="40" actId="478"/>
          <ac:spMkLst>
            <pc:docMk/>
            <pc:sldMk cId="2854893641" sldId="393"/>
            <ac:spMk id="305" creationId="{00000000-0000-0000-0000-000000000000}"/>
          </ac:spMkLst>
        </pc:spChg>
        <pc:grpChg chg="del">
          <ac:chgData name="Oscar Zamora" userId="fbd221bc-bd0e-4333-9244-d5a1e790e682" providerId="ADAL" clId="{C9B6E518-F3CA-4EDD-A15B-D6D506DFB0FF}" dt="2020-03-25T17:34:11.130" v="41" actId="478"/>
          <ac:grpSpMkLst>
            <pc:docMk/>
            <pc:sldMk cId="2854893641" sldId="393"/>
            <ac:grpSpMk id="3" creationId="{00000000-0000-0000-0000-000000000000}"/>
          </ac:grpSpMkLst>
        </pc:grpChg>
      </pc:sldChg>
      <pc:sldChg chg="add del">
        <pc:chgData name="Oscar Zamora" userId="fbd221bc-bd0e-4333-9244-d5a1e790e682" providerId="ADAL" clId="{C9B6E518-F3CA-4EDD-A15B-D6D506DFB0FF}" dt="2020-03-25T17:33:41.101" v="32" actId="22"/>
        <pc:sldMkLst>
          <pc:docMk/>
          <pc:sldMk cId="4069975914" sldId="393"/>
        </pc:sldMkLst>
      </pc:sldChg>
      <pc:sldChg chg="modSp add mod">
        <pc:chgData name="Oscar Zamora" userId="fbd221bc-bd0e-4333-9244-d5a1e790e682" providerId="ADAL" clId="{C9B6E518-F3CA-4EDD-A15B-D6D506DFB0FF}" dt="2020-03-26T16:54:31.913" v="3631" actId="20577"/>
        <pc:sldMkLst>
          <pc:docMk/>
          <pc:sldMk cId="85554003" sldId="394"/>
        </pc:sldMkLst>
        <pc:spChg chg="mod">
          <ac:chgData name="Oscar Zamora" userId="fbd221bc-bd0e-4333-9244-d5a1e790e682" providerId="ADAL" clId="{C9B6E518-F3CA-4EDD-A15B-D6D506DFB0FF}" dt="2020-03-25T17:35:34.979" v="89" actId="20577"/>
          <ac:spMkLst>
            <pc:docMk/>
            <pc:sldMk cId="85554003" sldId="394"/>
            <ac:spMk id="2" creationId="{4354B388-2259-4F1F-B142-739CBE157B9D}"/>
          </ac:spMkLst>
        </pc:spChg>
        <pc:spChg chg="mod">
          <ac:chgData name="Oscar Zamora" userId="fbd221bc-bd0e-4333-9244-d5a1e790e682" providerId="ADAL" clId="{C9B6E518-F3CA-4EDD-A15B-D6D506DFB0FF}" dt="2020-03-26T16:54:31.913" v="3631" actId="20577"/>
          <ac:spMkLst>
            <pc:docMk/>
            <pc:sldMk cId="85554003" sldId="394"/>
            <ac:spMk id="5" creationId="{0E4723E8-1D68-4685-AFD9-A0477FF79717}"/>
          </ac:spMkLst>
        </pc:spChg>
      </pc:sldChg>
      <pc:sldChg chg="modSp add mod">
        <pc:chgData name="Oscar Zamora" userId="fbd221bc-bd0e-4333-9244-d5a1e790e682" providerId="ADAL" clId="{C9B6E518-F3CA-4EDD-A15B-D6D506DFB0FF}" dt="2020-03-25T17:41:18.752" v="132"/>
        <pc:sldMkLst>
          <pc:docMk/>
          <pc:sldMk cId="445808440" sldId="395"/>
        </pc:sldMkLst>
        <pc:spChg chg="mod">
          <ac:chgData name="Oscar Zamora" userId="fbd221bc-bd0e-4333-9244-d5a1e790e682" providerId="ADAL" clId="{C9B6E518-F3CA-4EDD-A15B-D6D506DFB0FF}" dt="2020-03-25T17:35:26.782" v="82" actId="20577"/>
          <ac:spMkLst>
            <pc:docMk/>
            <pc:sldMk cId="445808440" sldId="395"/>
            <ac:spMk id="2" creationId="{4354B388-2259-4F1F-B142-739CBE157B9D}"/>
          </ac:spMkLst>
        </pc:spChg>
        <pc:spChg chg="mod">
          <ac:chgData name="Oscar Zamora" userId="fbd221bc-bd0e-4333-9244-d5a1e790e682" providerId="ADAL" clId="{C9B6E518-F3CA-4EDD-A15B-D6D506DFB0FF}" dt="2020-03-25T17:41:18.752" v="132"/>
          <ac:spMkLst>
            <pc:docMk/>
            <pc:sldMk cId="445808440" sldId="395"/>
            <ac:spMk id="5" creationId="{0E4723E8-1D68-4685-AFD9-A0477FF79717}"/>
          </ac:spMkLst>
        </pc:spChg>
      </pc:sldChg>
      <pc:sldChg chg="modSp add mod">
        <pc:chgData name="Oscar Zamora" userId="fbd221bc-bd0e-4333-9244-d5a1e790e682" providerId="ADAL" clId="{C9B6E518-F3CA-4EDD-A15B-D6D506DFB0FF}" dt="2020-03-25T17:45:10.895" v="224" actId="255"/>
        <pc:sldMkLst>
          <pc:docMk/>
          <pc:sldMk cId="1977790565" sldId="396"/>
        </pc:sldMkLst>
        <pc:spChg chg="mod">
          <ac:chgData name="Oscar Zamora" userId="fbd221bc-bd0e-4333-9244-d5a1e790e682" providerId="ADAL" clId="{C9B6E518-F3CA-4EDD-A15B-D6D506DFB0FF}" dt="2020-03-25T17:43:28.917" v="200" actId="20577"/>
          <ac:spMkLst>
            <pc:docMk/>
            <pc:sldMk cId="1977790565" sldId="396"/>
            <ac:spMk id="2" creationId="{4354B388-2259-4F1F-B142-739CBE157B9D}"/>
          </ac:spMkLst>
        </pc:spChg>
        <pc:spChg chg="mod">
          <ac:chgData name="Oscar Zamora" userId="fbd221bc-bd0e-4333-9244-d5a1e790e682" providerId="ADAL" clId="{C9B6E518-F3CA-4EDD-A15B-D6D506DFB0FF}" dt="2020-03-25T17:45:10.895" v="224" actId="255"/>
          <ac:spMkLst>
            <pc:docMk/>
            <pc:sldMk cId="1977790565" sldId="396"/>
            <ac:spMk id="5" creationId="{0E4723E8-1D68-4685-AFD9-A0477FF79717}"/>
          </ac:spMkLst>
        </pc:spChg>
      </pc:sldChg>
      <pc:sldChg chg="modSp add mod">
        <pc:chgData name="Oscar Zamora" userId="fbd221bc-bd0e-4333-9244-d5a1e790e682" providerId="ADAL" clId="{C9B6E518-F3CA-4EDD-A15B-D6D506DFB0FF}" dt="2020-03-25T17:47:44.483" v="369" actId="20577"/>
        <pc:sldMkLst>
          <pc:docMk/>
          <pc:sldMk cId="2880821382" sldId="397"/>
        </pc:sldMkLst>
        <pc:spChg chg="mod">
          <ac:chgData name="Oscar Zamora" userId="fbd221bc-bd0e-4333-9244-d5a1e790e682" providerId="ADAL" clId="{C9B6E518-F3CA-4EDD-A15B-D6D506DFB0FF}" dt="2020-03-25T17:45:20.388" v="242" actId="20577"/>
          <ac:spMkLst>
            <pc:docMk/>
            <pc:sldMk cId="2880821382" sldId="397"/>
            <ac:spMk id="2" creationId="{4354B388-2259-4F1F-B142-739CBE157B9D}"/>
          </ac:spMkLst>
        </pc:spChg>
        <pc:spChg chg="mod">
          <ac:chgData name="Oscar Zamora" userId="fbd221bc-bd0e-4333-9244-d5a1e790e682" providerId="ADAL" clId="{C9B6E518-F3CA-4EDD-A15B-D6D506DFB0FF}" dt="2020-03-25T17:47:44.483" v="369" actId="20577"/>
          <ac:spMkLst>
            <pc:docMk/>
            <pc:sldMk cId="2880821382" sldId="397"/>
            <ac:spMk id="5" creationId="{0E4723E8-1D68-4685-AFD9-A0477FF79717}"/>
          </ac:spMkLst>
        </pc:spChg>
      </pc:sldChg>
      <pc:sldChg chg="addSp delSp modSp add mod modNotesTx">
        <pc:chgData name="Oscar Zamora" userId="fbd221bc-bd0e-4333-9244-d5a1e790e682" providerId="ADAL" clId="{C9B6E518-F3CA-4EDD-A15B-D6D506DFB0FF}" dt="2020-03-25T20:39:58.247" v="954" actId="962"/>
        <pc:sldMkLst>
          <pc:docMk/>
          <pc:sldMk cId="3379748801" sldId="398"/>
        </pc:sldMkLst>
        <pc:spChg chg="mod">
          <ac:chgData name="Oscar Zamora" userId="fbd221bc-bd0e-4333-9244-d5a1e790e682" providerId="ADAL" clId="{C9B6E518-F3CA-4EDD-A15B-D6D506DFB0FF}" dt="2020-03-25T20:39:55.903" v="952" actId="962"/>
          <ac:spMkLst>
            <pc:docMk/>
            <pc:sldMk cId="3379748801" sldId="398"/>
            <ac:spMk id="2" creationId="{4354B388-2259-4F1F-B142-739CBE157B9D}"/>
          </ac:spMkLst>
        </pc:spChg>
        <pc:spChg chg="del">
          <ac:chgData name="Oscar Zamora" userId="fbd221bc-bd0e-4333-9244-d5a1e790e682" providerId="ADAL" clId="{C9B6E518-F3CA-4EDD-A15B-D6D506DFB0FF}" dt="2020-03-25T20:39:26.477" v="942" actId="478"/>
          <ac:spMkLst>
            <pc:docMk/>
            <pc:sldMk cId="3379748801" sldId="398"/>
            <ac:spMk id="5" creationId="{0E4723E8-1D68-4685-AFD9-A0477FF79717}"/>
          </ac:spMkLst>
        </pc:spChg>
        <pc:picChg chg="add mod">
          <ac:chgData name="Oscar Zamora" userId="fbd221bc-bd0e-4333-9244-d5a1e790e682" providerId="ADAL" clId="{C9B6E518-F3CA-4EDD-A15B-D6D506DFB0FF}" dt="2020-03-25T20:39:58.247" v="954" actId="962"/>
          <ac:picMkLst>
            <pc:docMk/>
            <pc:sldMk cId="3379748801" sldId="398"/>
            <ac:picMk id="3" creationId="{E033E645-4511-4B46-8F87-D01105E50DFA}"/>
          </ac:picMkLst>
        </pc:picChg>
      </pc:sldChg>
      <pc:sldChg chg="addSp delSp modSp add mod">
        <pc:chgData name="Oscar Zamora" userId="fbd221bc-bd0e-4333-9244-d5a1e790e682" providerId="ADAL" clId="{C9B6E518-F3CA-4EDD-A15B-D6D506DFB0FF}" dt="2020-03-25T20:58:01.281" v="1138" actId="478"/>
        <pc:sldMkLst>
          <pc:docMk/>
          <pc:sldMk cId="2402155815" sldId="399"/>
        </pc:sldMkLst>
        <pc:spChg chg="add del mod">
          <ac:chgData name="Oscar Zamora" userId="fbd221bc-bd0e-4333-9244-d5a1e790e682" providerId="ADAL" clId="{C9B6E518-F3CA-4EDD-A15B-D6D506DFB0FF}" dt="2020-03-25T20:58:01.281" v="1138" actId="478"/>
          <ac:spMkLst>
            <pc:docMk/>
            <pc:sldMk cId="2402155815" sldId="399"/>
            <ac:spMk id="2" creationId="{4354B388-2259-4F1F-B142-739CBE157B9D}"/>
          </ac:spMkLst>
        </pc:spChg>
        <pc:spChg chg="del">
          <ac:chgData name="Oscar Zamora" userId="fbd221bc-bd0e-4333-9244-d5a1e790e682" providerId="ADAL" clId="{C9B6E518-F3CA-4EDD-A15B-D6D506DFB0FF}" dt="2020-03-25T20:55:48.052" v="1120" actId="478"/>
          <ac:spMkLst>
            <pc:docMk/>
            <pc:sldMk cId="2402155815" sldId="399"/>
            <ac:spMk id="5" creationId="{0E4723E8-1D68-4685-AFD9-A0477FF79717}"/>
          </ac:spMkLst>
        </pc:spChg>
        <pc:spChg chg="add del mod">
          <ac:chgData name="Oscar Zamora" userId="fbd221bc-bd0e-4333-9244-d5a1e790e682" providerId="ADAL" clId="{C9B6E518-F3CA-4EDD-A15B-D6D506DFB0FF}" dt="2020-03-25T20:58:01.281" v="1138" actId="478"/>
          <ac:spMkLst>
            <pc:docMk/>
            <pc:sldMk cId="2402155815" sldId="399"/>
            <ac:spMk id="7" creationId="{5B0EF86D-BF8F-4B87-8C66-88D19454EF9F}"/>
          </ac:spMkLst>
        </pc:spChg>
        <pc:spChg chg="add del">
          <ac:chgData name="Oscar Zamora" userId="fbd221bc-bd0e-4333-9244-d5a1e790e682" providerId="ADAL" clId="{C9B6E518-F3CA-4EDD-A15B-D6D506DFB0FF}" dt="2020-03-25T20:57:53.370" v="1133"/>
          <ac:spMkLst>
            <pc:docMk/>
            <pc:sldMk cId="2402155815" sldId="399"/>
            <ac:spMk id="8" creationId="{F78428CC-2C89-4BDB-8902-85AB5C4FBCFA}"/>
          </ac:spMkLst>
        </pc:spChg>
        <pc:spChg chg="add del">
          <ac:chgData name="Oscar Zamora" userId="fbd221bc-bd0e-4333-9244-d5a1e790e682" providerId="ADAL" clId="{C9B6E518-F3CA-4EDD-A15B-D6D506DFB0FF}" dt="2020-03-25T20:58:00.387" v="1136"/>
          <ac:spMkLst>
            <pc:docMk/>
            <pc:sldMk cId="2402155815" sldId="399"/>
            <ac:spMk id="9" creationId="{7B8871AC-AEAC-4642-8243-4B6F3C3760D2}"/>
          </ac:spMkLst>
        </pc:spChg>
        <pc:picChg chg="add mod">
          <ac:chgData name="Oscar Zamora" userId="fbd221bc-bd0e-4333-9244-d5a1e790e682" providerId="ADAL" clId="{C9B6E518-F3CA-4EDD-A15B-D6D506DFB0FF}" dt="2020-03-25T20:55:52.745" v="1122" actId="1076"/>
          <ac:picMkLst>
            <pc:docMk/>
            <pc:sldMk cId="2402155815" sldId="399"/>
            <ac:picMk id="3" creationId="{89C2D331-1A0B-401F-86A4-23185E17D349}"/>
          </ac:picMkLst>
        </pc:picChg>
      </pc:sldChg>
      <pc:sldChg chg="addSp delSp modSp add mod modNotesTx">
        <pc:chgData name="Oscar Zamora" userId="fbd221bc-bd0e-4333-9244-d5a1e790e682" providerId="ADAL" clId="{C9B6E518-F3CA-4EDD-A15B-D6D506DFB0FF}" dt="2020-03-25T20:58:31.350" v="1150" actId="962"/>
        <pc:sldMkLst>
          <pc:docMk/>
          <pc:sldMk cId="3721672245" sldId="400"/>
        </pc:sldMkLst>
        <pc:spChg chg="mod">
          <ac:chgData name="Oscar Zamora" userId="fbd221bc-bd0e-4333-9244-d5a1e790e682" providerId="ADAL" clId="{C9B6E518-F3CA-4EDD-A15B-D6D506DFB0FF}" dt="2020-03-25T20:58:14.653" v="1140"/>
          <ac:spMkLst>
            <pc:docMk/>
            <pc:sldMk cId="3721672245" sldId="400"/>
            <ac:spMk id="2" creationId="{4354B388-2259-4F1F-B142-739CBE157B9D}"/>
          </ac:spMkLst>
        </pc:spChg>
        <pc:spChg chg="add del">
          <ac:chgData name="Oscar Zamora" userId="fbd221bc-bd0e-4333-9244-d5a1e790e682" providerId="ADAL" clId="{C9B6E518-F3CA-4EDD-A15B-D6D506DFB0FF}" dt="2020-03-25T20:58:28.619" v="1147" actId="22"/>
          <ac:spMkLst>
            <pc:docMk/>
            <pc:sldMk cId="3721672245" sldId="400"/>
            <ac:spMk id="7" creationId="{3CDA454C-4C16-4024-9284-F9027F41F664}"/>
          </ac:spMkLst>
        </pc:spChg>
        <pc:picChg chg="del">
          <ac:chgData name="Oscar Zamora" userId="fbd221bc-bd0e-4333-9244-d5a1e790e682" providerId="ADAL" clId="{C9B6E518-F3CA-4EDD-A15B-D6D506DFB0FF}" dt="2020-03-25T20:58:15.834" v="1141" actId="478"/>
          <ac:picMkLst>
            <pc:docMk/>
            <pc:sldMk cId="3721672245" sldId="400"/>
            <ac:picMk id="3" creationId="{89C2D331-1A0B-401F-86A4-23185E17D349}"/>
          </ac:picMkLst>
        </pc:picChg>
        <pc:picChg chg="add mod">
          <ac:chgData name="Oscar Zamora" userId="fbd221bc-bd0e-4333-9244-d5a1e790e682" providerId="ADAL" clId="{C9B6E518-F3CA-4EDD-A15B-D6D506DFB0FF}" dt="2020-03-25T20:58:31.350" v="1150" actId="962"/>
          <ac:picMkLst>
            <pc:docMk/>
            <pc:sldMk cId="3721672245" sldId="400"/>
            <ac:picMk id="5" creationId="{8D6BA69A-C9B4-4F22-9A3A-4765EA914129}"/>
          </ac:picMkLst>
        </pc:picChg>
      </pc:sldChg>
      <pc:sldChg chg="addSp delSp modSp add mod modNotesTx">
        <pc:chgData name="Oscar Zamora" userId="fbd221bc-bd0e-4333-9244-d5a1e790e682" providerId="ADAL" clId="{C9B6E518-F3CA-4EDD-A15B-D6D506DFB0FF}" dt="2020-03-25T21:00:22.244" v="1171" actId="962"/>
        <pc:sldMkLst>
          <pc:docMk/>
          <pc:sldMk cId="887590150" sldId="401"/>
        </pc:sldMkLst>
        <pc:spChg chg="mod">
          <ac:chgData name="Oscar Zamora" userId="fbd221bc-bd0e-4333-9244-d5a1e790e682" providerId="ADAL" clId="{C9B6E518-F3CA-4EDD-A15B-D6D506DFB0FF}" dt="2020-03-25T21:00:02.162" v="1165" actId="27636"/>
          <ac:spMkLst>
            <pc:docMk/>
            <pc:sldMk cId="887590150" sldId="401"/>
            <ac:spMk id="2" creationId="{4354B388-2259-4F1F-B142-739CBE157B9D}"/>
          </ac:spMkLst>
        </pc:spChg>
        <pc:picChg chg="add mod">
          <ac:chgData name="Oscar Zamora" userId="fbd221bc-bd0e-4333-9244-d5a1e790e682" providerId="ADAL" clId="{C9B6E518-F3CA-4EDD-A15B-D6D506DFB0FF}" dt="2020-03-25T21:00:22.244" v="1171" actId="962"/>
          <ac:picMkLst>
            <pc:docMk/>
            <pc:sldMk cId="887590150" sldId="401"/>
            <ac:picMk id="3" creationId="{BC3E2732-B071-448E-9549-B703EDC902F1}"/>
          </ac:picMkLst>
        </pc:picChg>
        <pc:picChg chg="del">
          <ac:chgData name="Oscar Zamora" userId="fbd221bc-bd0e-4333-9244-d5a1e790e682" providerId="ADAL" clId="{C9B6E518-F3CA-4EDD-A15B-D6D506DFB0FF}" dt="2020-03-25T21:00:07.602" v="1166" actId="478"/>
          <ac:picMkLst>
            <pc:docMk/>
            <pc:sldMk cId="887590150" sldId="401"/>
            <ac:picMk id="5" creationId="{8D6BA69A-C9B4-4F22-9A3A-4765EA914129}"/>
          </ac:picMkLst>
        </pc:picChg>
      </pc:sldChg>
      <pc:sldChg chg="addSp modSp add mod">
        <pc:chgData name="Oscar Zamora" userId="fbd221bc-bd0e-4333-9244-d5a1e790e682" providerId="ADAL" clId="{C9B6E518-F3CA-4EDD-A15B-D6D506DFB0FF}" dt="2020-03-26T16:10:51.476" v="2265" actId="20577"/>
        <pc:sldMkLst>
          <pc:docMk/>
          <pc:sldMk cId="1516554846" sldId="402"/>
        </pc:sldMkLst>
        <pc:spChg chg="mod">
          <ac:chgData name="Oscar Zamora" userId="fbd221bc-bd0e-4333-9244-d5a1e790e682" providerId="ADAL" clId="{C9B6E518-F3CA-4EDD-A15B-D6D506DFB0FF}" dt="2020-03-26T16:10:51.476" v="2265" actId="20577"/>
          <ac:spMkLst>
            <pc:docMk/>
            <pc:sldMk cId="1516554846" sldId="402"/>
            <ac:spMk id="2" creationId="{4354B388-2259-4F1F-B142-739CBE157B9D}"/>
          </ac:spMkLst>
        </pc:spChg>
        <pc:spChg chg="mod">
          <ac:chgData name="Oscar Zamora" userId="fbd221bc-bd0e-4333-9244-d5a1e790e682" providerId="ADAL" clId="{C9B6E518-F3CA-4EDD-A15B-D6D506DFB0FF}" dt="2020-03-26T16:04:39.428" v="1599" actId="12"/>
          <ac:spMkLst>
            <pc:docMk/>
            <pc:sldMk cId="1516554846" sldId="402"/>
            <ac:spMk id="5" creationId="{0E4723E8-1D68-4685-AFD9-A0477FF79717}"/>
          </ac:spMkLst>
        </pc:spChg>
        <pc:picChg chg="add mod">
          <ac:chgData name="Oscar Zamora" userId="fbd221bc-bd0e-4333-9244-d5a1e790e682" providerId="ADAL" clId="{C9B6E518-F3CA-4EDD-A15B-D6D506DFB0FF}" dt="2020-03-26T16:04:53.906" v="1604" actId="1076"/>
          <ac:picMkLst>
            <pc:docMk/>
            <pc:sldMk cId="1516554846" sldId="402"/>
            <ac:picMk id="7170" creationId="{C26FB6C6-4144-4344-B88E-0E2AE9D1AFC2}"/>
          </ac:picMkLst>
        </pc:picChg>
      </pc:sldChg>
      <pc:sldChg chg="add del">
        <pc:chgData name="Oscar Zamora" userId="fbd221bc-bd0e-4333-9244-d5a1e790e682" providerId="ADAL" clId="{C9B6E518-F3CA-4EDD-A15B-D6D506DFB0FF}" dt="2020-03-26T16:00:05.006" v="1267" actId="22"/>
        <pc:sldMkLst>
          <pc:docMk/>
          <pc:sldMk cId="2631436676" sldId="402"/>
        </pc:sldMkLst>
      </pc:sldChg>
      <pc:sldChg chg="add del">
        <pc:chgData name="Oscar Zamora" userId="fbd221bc-bd0e-4333-9244-d5a1e790e682" providerId="ADAL" clId="{C9B6E518-F3CA-4EDD-A15B-D6D506DFB0FF}" dt="2020-03-26T16:00:12.004" v="1269" actId="22"/>
        <pc:sldMkLst>
          <pc:docMk/>
          <pc:sldMk cId="3455658186" sldId="402"/>
        </pc:sldMkLst>
      </pc:sldChg>
      <pc:sldChg chg="add del ord">
        <pc:chgData name="Oscar Zamora" userId="fbd221bc-bd0e-4333-9244-d5a1e790e682" providerId="ADAL" clId="{C9B6E518-F3CA-4EDD-A15B-D6D506DFB0FF}" dt="2020-03-26T16:00:34.042" v="1273" actId="47"/>
        <pc:sldMkLst>
          <pc:docMk/>
          <pc:sldMk cId="3572059234" sldId="402"/>
        </pc:sldMkLst>
      </pc:sldChg>
      <pc:sldChg chg="add del">
        <pc:chgData name="Oscar Zamora" userId="fbd221bc-bd0e-4333-9244-d5a1e790e682" providerId="ADAL" clId="{C9B6E518-F3CA-4EDD-A15B-D6D506DFB0FF}" dt="2020-03-26T16:00:01.068" v="1265" actId="22"/>
        <pc:sldMkLst>
          <pc:docMk/>
          <pc:sldMk cId="4065504265" sldId="402"/>
        </pc:sldMkLst>
      </pc:sldChg>
      <pc:sldChg chg="addSp delSp modSp add mod">
        <pc:chgData name="Oscar Zamora" userId="fbd221bc-bd0e-4333-9244-d5a1e790e682" providerId="ADAL" clId="{C9B6E518-F3CA-4EDD-A15B-D6D506DFB0FF}" dt="2020-03-26T16:14:00.014" v="2270" actId="692"/>
        <pc:sldMkLst>
          <pc:docMk/>
          <pc:sldMk cId="490553988" sldId="403"/>
        </pc:sldMkLst>
        <pc:spChg chg="mod">
          <ac:chgData name="Oscar Zamora" userId="fbd221bc-bd0e-4333-9244-d5a1e790e682" providerId="ADAL" clId="{C9B6E518-F3CA-4EDD-A15B-D6D506DFB0FF}" dt="2020-03-26T16:05:42.174" v="1687" actId="20577"/>
          <ac:spMkLst>
            <pc:docMk/>
            <pc:sldMk cId="490553988" sldId="403"/>
            <ac:spMk id="2" creationId="{4354B388-2259-4F1F-B142-739CBE157B9D}"/>
          </ac:spMkLst>
        </pc:spChg>
        <pc:spChg chg="add mod">
          <ac:chgData name="Oscar Zamora" userId="fbd221bc-bd0e-4333-9244-d5a1e790e682" providerId="ADAL" clId="{C9B6E518-F3CA-4EDD-A15B-D6D506DFB0FF}" dt="2020-03-26T16:13:33.156" v="2267" actId="1076"/>
          <ac:spMkLst>
            <pc:docMk/>
            <pc:sldMk cId="490553988" sldId="403"/>
            <ac:spMk id="3" creationId="{F83E1212-C788-4222-8DC4-D95B90F97B5C}"/>
          </ac:spMkLst>
        </pc:spChg>
        <pc:spChg chg="mod">
          <ac:chgData name="Oscar Zamora" userId="fbd221bc-bd0e-4333-9244-d5a1e790e682" providerId="ADAL" clId="{C9B6E518-F3CA-4EDD-A15B-D6D506DFB0FF}" dt="2020-03-26T16:09:20.557" v="2248" actId="6549"/>
          <ac:spMkLst>
            <pc:docMk/>
            <pc:sldMk cId="490553988" sldId="403"/>
            <ac:spMk id="5" creationId="{0E4723E8-1D68-4685-AFD9-A0477FF79717}"/>
          </ac:spMkLst>
        </pc:spChg>
        <pc:spChg chg="add mod">
          <ac:chgData name="Oscar Zamora" userId="fbd221bc-bd0e-4333-9244-d5a1e790e682" providerId="ADAL" clId="{C9B6E518-F3CA-4EDD-A15B-D6D506DFB0FF}" dt="2020-03-26T16:13:33.156" v="2267" actId="1076"/>
          <ac:spMkLst>
            <pc:docMk/>
            <pc:sldMk cId="490553988" sldId="403"/>
            <ac:spMk id="16" creationId="{66D03183-7673-4727-84CD-C1F4F1CBF955}"/>
          </ac:spMkLst>
        </pc:spChg>
        <pc:spChg chg="add mod">
          <ac:chgData name="Oscar Zamora" userId="fbd221bc-bd0e-4333-9244-d5a1e790e682" providerId="ADAL" clId="{C9B6E518-F3CA-4EDD-A15B-D6D506DFB0FF}" dt="2020-03-26T16:13:33.156" v="2267" actId="1076"/>
          <ac:spMkLst>
            <pc:docMk/>
            <pc:sldMk cId="490553988" sldId="403"/>
            <ac:spMk id="18" creationId="{F4137C7E-F1F8-43C8-86BD-57C392A5DC35}"/>
          </ac:spMkLst>
        </pc:spChg>
        <pc:grpChg chg="add mod">
          <ac:chgData name="Oscar Zamora" userId="fbd221bc-bd0e-4333-9244-d5a1e790e682" providerId="ADAL" clId="{C9B6E518-F3CA-4EDD-A15B-D6D506DFB0FF}" dt="2020-03-26T16:13:33.156" v="2267" actId="1076"/>
          <ac:grpSpMkLst>
            <pc:docMk/>
            <pc:sldMk cId="490553988" sldId="403"/>
            <ac:grpSpMk id="4" creationId="{12BAA0D4-CD72-4180-BF7B-43CA0E266B43}"/>
          </ac:grpSpMkLst>
        </pc:grpChg>
        <pc:picChg chg="add mod">
          <ac:chgData name="Oscar Zamora" userId="fbd221bc-bd0e-4333-9244-d5a1e790e682" providerId="ADAL" clId="{C9B6E518-F3CA-4EDD-A15B-D6D506DFB0FF}" dt="2020-03-26T16:13:33.156" v="2267" actId="1076"/>
          <ac:picMkLst>
            <pc:docMk/>
            <pc:sldMk cId="490553988" sldId="403"/>
            <ac:picMk id="20" creationId="{DA09F56D-59E9-4EBE-B092-8A7C5E749FB6}"/>
          </ac:picMkLst>
        </pc:picChg>
        <pc:picChg chg="del">
          <ac:chgData name="Oscar Zamora" userId="fbd221bc-bd0e-4333-9244-d5a1e790e682" providerId="ADAL" clId="{C9B6E518-F3CA-4EDD-A15B-D6D506DFB0FF}" dt="2020-03-26T16:05:15.886" v="1635" actId="478"/>
          <ac:picMkLst>
            <pc:docMk/>
            <pc:sldMk cId="490553988" sldId="403"/>
            <ac:picMk id="7170" creationId="{C26FB6C6-4144-4344-B88E-0E2AE9D1AFC2}"/>
          </ac:picMkLst>
        </pc:picChg>
        <pc:cxnChg chg="add mod">
          <ac:chgData name="Oscar Zamora" userId="fbd221bc-bd0e-4333-9244-d5a1e790e682" providerId="ADAL" clId="{C9B6E518-F3CA-4EDD-A15B-D6D506DFB0FF}" dt="2020-03-26T16:14:00.014" v="2270" actId="692"/>
          <ac:cxnSpMkLst>
            <pc:docMk/>
            <pc:sldMk cId="490553988" sldId="403"/>
            <ac:cxnSpMk id="23" creationId="{51100420-DFDE-4CF1-9498-CD9696A18F61}"/>
          </ac:cxnSpMkLst>
        </pc:cxnChg>
      </pc:sldChg>
      <pc:sldChg chg="delSp modSp add mod">
        <pc:chgData name="Oscar Zamora" userId="fbd221bc-bd0e-4333-9244-d5a1e790e682" providerId="ADAL" clId="{C9B6E518-F3CA-4EDD-A15B-D6D506DFB0FF}" dt="2020-03-26T16:35:30.360" v="3073" actId="20577"/>
        <pc:sldMkLst>
          <pc:docMk/>
          <pc:sldMk cId="1609301924" sldId="404"/>
        </pc:sldMkLst>
        <pc:spChg chg="mod">
          <ac:chgData name="Oscar Zamora" userId="fbd221bc-bd0e-4333-9244-d5a1e790e682" providerId="ADAL" clId="{C9B6E518-F3CA-4EDD-A15B-D6D506DFB0FF}" dt="2020-03-26T16:14:41.217" v="2330" actId="20577"/>
          <ac:spMkLst>
            <pc:docMk/>
            <pc:sldMk cId="1609301924" sldId="404"/>
            <ac:spMk id="2" creationId="{4354B388-2259-4F1F-B142-739CBE157B9D}"/>
          </ac:spMkLst>
        </pc:spChg>
        <pc:spChg chg="mod">
          <ac:chgData name="Oscar Zamora" userId="fbd221bc-bd0e-4333-9244-d5a1e790e682" providerId="ADAL" clId="{C9B6E518-F3CA-4EDD-A15B-D6D506DFB0FF}" dt="2020-03-26T16:35:30.360" v="3073" actId="20577"/>
          <ac:spMkLst>
            <pc:docMk/>
            <pc:sldMk cId="1609301924" sldId="404"/>
            <ac:spMk id="5" creationId="{0E4723E8-1D68-4685-AFD9-A0477FF79717}"/>
          </ac:spMkLst>
        </pc:spChg>
        <pc:picChg chg="del">
          <ac:chgData name="Oscar Zamora" userId="fbd221bc-bd0e-4333-9244-d5a1e790e682" providerId="ADAL" clId="{C9B6E518-F3CA-4EDD-A15B-D6D506DFB0FF}" dt="2020-03-26T16:34:09.143" v="2766" actId="478"/>
          <ac:picMkLst>
            <pc:docMk/>
            <pc:sldMk cId="1609301924" sldId="404"/>
            <ac:picMk id="7170" creationId="{C26FB6C6-4144-4344-B88E-0E2AE9D1AFC2}"/>
          </ac:picMkLst>
        </pc:picChg>
      </pc:sldChg>
      <pc:sldChg chg="addSp delSp modSp add mod">
        <pc:chgData name="Oscar Zamora" userId="fbd221bc-bd0e-4333-9244-d5a1e790e682" providerId="ADAL" clId="{C9B6E518-F3CA-4EDD-A15B-D6D506DFB0FF}" dt="2020-03-26T16:43:47.403" v="3433" actId="1035"/>
        <pc:sldMkLst>
          <pc:docMk/>
          <pc:sldMk cId="2536296654" sldId="405"/>
        </pc:sldMkLst>
        <pc:spChg chg="mod">
          <ac:chgData name="Oscar Zamora" userId="fbd221bc-bd0e-4333-9244-d5a1e790e682" providerId="ADAL" clId="{C9B6E518-F3CA-4EDD-A15B-D6D506DFB0FF}" dt="2020-03-26T16:36:30.189" v="3123" actId="20577"/>
          <ac:spMkLst>
            <pc:docMk/>
            <pc:sldMk cId="2536296654" sldId="405"/>
            <ac:spMk id="2" creationId="{82F902FB-BEC3-4ADA-87B8-F04BC2535E6E}"/>
          </ac:spMkLst>
        </pc:spChg>
        <pc:spChg chg="mod">
          <ac:chgData name="Oscar Zamora" userId="fbd221bc-bd0e-4333-9244-d5a1e790e682" providerId="ADAL" clId="{C9B6E518-F3CA-4EDD-A15B-D6D506DFB0FF}" dt="2020-03-26T16:43:47.403" v="3433" actId="1035"/>
          <ac:spMkLst>
            <pc:docMk/>
            <pc:sldMk cId="2536296654" sldId="405"/>
            <ac:spMk id="3" creationId="{51E099A3-C6A6-41A4-B239-30FD2F84F0CF}"/>
          </ac:spMkLst>
        </pc:spChg>
        <pc:spChg chg="del">
          <ac:chgData name="Oscar Zamora" userId="fbd221bc-bd0e-4333-9244-d5a1e790e682" providerId="ADAL" clId="{C9B6E518-F3CA-4EDD-A15B-D6D506DFB0FF}" dt="2020-03-26T16:36:57.149" v="3126" actId="478"/>
          <ac:spMkLst>
            <pc:docMk/>
            <pc:sldMk cId="2536296654" sldId="405"/>
            <ac:spMk id="5" creationId="{E3F58A5F-0BC8-445E-93BE-73D873B0C7C0}"/>
          </ac:spMkLst>
        </pc:spChg>
        <pc:spChg chg="mod">
          <ac:chgData name="Oscar Zamora" userId="fbd221bc-bd0e-4333-9244-d5a1e790e682" providerId="ADAL" clId="{C9B6E518-F3CA-4EDD-A15B-D6D506DFB0FF}" dt="2020-03-26T16:43:47.403" v="3433" actId="1035"/>
          <ac:spMkLst>
            <pc:docMk/>
            <pc:sldMk cId="2536296654" sldId="405"/>
            <ac:spMk id="7" creationId="{943F2EDC-C7A9-43F3-B7CE-91A82C5736D9}"/>
          </ac:spMkLst>
        </pc:spChg>
        <pc:spChg chg="mod">
          <ac:chgData name="Oscar Zamora" userId="fbd221bc-bd0e-4333-9244-d5a1e790e682" providerId="ADAL" clId="{C9B6E518-F3CA-4EDD-A15B-D6D506DFB0FF}" dt="2020-03-26T16:43:47.403" v="3433" actId="1035"/>
          <ac:spMkLst>
            <pc:docMk/>
            <pc:sldMk cId="2536296654" sldId="405"/>
            <ac:spMk id="11" creationId="{A4861B32-3ECD-429E-8735-24246717DD4C}"/>
          </ac:spMkLst>
        </pc:spChg>
        <pc:spChg chg="del">
          <ac:chgData name="Oscar Zamora" userId="fbd221bc-bd0e-4333-9244-d5a1e790e682" providerId="ADAL" clId="{C9B6E518-F3CA-4EDD-A15B-D6D506DFB0FF}" dt="2020-03-26T16:36:55.039" v="3125" actId="478"/>
          <ac:spMkLst>
            <pc:docMk/>
            <pc:sldMk cId="2536296654" sldId="405"/>
            <ac:spMk id="13" creationId="{B9C5D46C-E00F-40F9-9640-9F295E928A72}"/>
          </ac:spMkLst>
        </pc:spChg>
        <pc:spChg chg="add mod">
          <ac:chgData name="Oscar Zamora" userId="fbd221bc-bd0e-4333-9244-d5a1e790e682" providerId="ADAL" clId="{C9B6E518-F3CA-4EDD-A15B-D6D506DFB0FF}" dt="2020-03-26T16:43:47.403" v="3433" actId="1035"/>
          <ac:spMkLst>
            <pc:docMk/>
            <pc:sldMk cId="2536296654" sldId="405"/>
            <ac:spMk id="14" creationId="{4AC62BB7-2706-443B-9BC5-EA30297C5CFB}"/>
          </ac:spMkLst>
        </pc:spChg>
        <pc:spChg chg="add mod">
          <ac:chgData name="Oscar Zamora" userId="fbd221bc-bd0e-4333-9244-d5a1e790e682" providerId="ADAL" clId="{C9B6E518-F3CA-4EDD-A15B-D6D506DFB0FF}" dt="2020-03-26T16:43:47.403" v="3433" actId="1035"/>
          <ac:spMkLst>
            <pc:docMk/>
            <pc:sldMk cId="2536296654" sldId="405"/>
            <ac:spMk id="16" creationId="{6C1273C4-6CFF-47F5-82D5-126195D3FCD5}"/>
          </ac:spMkLst>
        </pc:spChg>
        <pc:cxnChg chg="mod">
          <ac:chgData name="Oscar Zamora" userId="fbd221bc-bd0e-4333-9244-d5a1e790e682" providerId="ADAL" clId="{C9B6E518-F3CA-4EDD-A15B-D6D506DFB0FF}" dt="2020-03-26T16:43:47.403" v="3433" actId="1035"/>
          <ac:cxnSpMkLst>
            <pc:docMk/>
            <pc:sldMk cId="2536296654" sldId="405"/>
            <ac:cxnSpMk id="6" creationId="{EF90CB13-FA90-484B-AB6E-83B045E8A9F8}"/>
          </ac:cxnSpMkLst>
        </pc:cxnChg>
        <pc:cxnChg chg="mod">
          <ac:chgData name="Oscar Zamora" userId="fbd221bc-bd0e-4333-9244-d5a1e790e682" providerId="ADAL" clId="{C9B6E518-F3CA-4EDD-A15B-D6D506DFB0FF}" dt="2020-03-26T16:43:47.403" v="3433" actId="1035"/>
          <ac:cxnSpMkLst>
            <pc:docMk/>
            <pc:sldMk cId="2536296654" sldId="405"/>
            <ac:cxnSpMk id="10" creationId="{ACEB4E82-DA99-4FA8-97AF-E6FF0189DD54}"/>
          </ac:cxnSpMkLst>
        </pc:cxnChg>
        <pc:cxnChg chg="add mod">
          <ac:chgData name="Oscar Zamora" userId="fbd221bc-bd0e-4333-9244-d5a1e790e682" providerId="ADAL" clId="{C9B6E518-F3CA-4EDD-A15B-D6D506DFB0FF}" dt="2020-03-26T16:43:47.403" v="3433" actId="1035"/>
          <ac:cxnSpMkLst>
            <pc:docMk/>
            <pc:sldMk cId="2536296654" sldId="405"/>
            <ac:cxnSpMk id="12" creationId="{0E0952D4-334A-4FF1-A676-F981E237BCD4}"/>
          </ac:cxnSpMkLst>
        </pc:cxnChg>
        <pc:cxnChg chg="add mod">
          <ac:chgData name="Oscar Zamora" userId="fbd221bc-bd0e-4333-9244-d5a1e790e682" providerId="ADAL" clId="{C9B6E518-F3CA-4EDD-A15B-D6D506DFB0FF}" dt="2020-03-26T16:43:47.403" v="3433" actId="1035"/>
          <ac:cxnSpMkLst>
            <pc:docMk/>
            <pc:sldMk cId="2536296654" sldId="405"/>
            <ac:cxnSpMk id="15" creationId="{FB839A96-77C4-4901-B9C9-74760B1D058B}"/>
          </ac:cxnSpMkLst>
        </pc:cxnChg>
      </pc:sldChg>
      <pc:sldChg chg="modSp add mod">
        <pc:chgData name="Oscar Zamora" userId="fbd221bc-bd0e-4333-9244-d5a1e790e682" providerId="ADAL" clId="{C9B6E518-F3CA-4EDD-A15B-D6D506DFB0FF}" dt="2020-03-26T16:47:30.506" v="3626" actId="20577"/>
        <pc:sldMkLst>
          <pc:docMk/>
          <pc:sldMk cId="1164376503" sldId="406"/>
        </pc:sldMkLst>
        <pc:spChg chg="mod">
          <ac:chgData name="Oscar Zamora" userId="fbd221bc-bd0e-4333-9244-d5a1e790e682" providerId="ADAL" clId="{C9B6E518-F3CA-4EDD-A15B-D6D506DFB0FF}" dt="2020-03-26T16:44:42.843" v="3441" actId="20577"/>
          <ac:spMkLst>
            <pc:docMk/>
            <pc:sldMk cId="1164376503" sldId="406"/>
            <ac:spMk id="2" creationId="{4354B388-2259-4F1F-B142-739CBE157B9D}"/>
          </ac:spMkLst>
        </pc:spChg>
        <pc:spChg chg="mod">
          <ac:chgData name="Oscar Zamora" userId="fbd221bc-bd0e-4333-9244-d5a1e790e682" providerId="ADAL" clId="{C9B6E518-F3CA-4EDD-A15B-D6D506DFB0FF}" dt="2020-03-26T16:47:30.506" v="3626" actId="20577"/>
          <ac:spMkLst>
            <pc:docMk/>
            <pc:sldMk cId="1164376503" sldId="406"/>
            <ac:spMk id="5" creationId="{0E4723E8-1D68-4685-AFD9-A0477FF79717}"/>
          </ac:spMkLst>
        </pc:spChg>
      </pc:sldChg>
      <pc:sldChg chg="modSp add del mod">
        <pc:chgData name="Oscar Zamora" userId="fbd221bc-bd0e-4333-9244-d5a1e790e682" providerId="ADAL" clId="{C9B6E518-F3CA-4EDD-A15B-D6D506DFB0FF}" dt="2020-03-26T20:14:47.821" v="3882" actId="47"/>
        <pc:sldMkLst>
          <pc:docMk/>
          <pc:sldMk cId="946110295" sldId="407"/>
        </pc:sldMkLst>
        <pc:spChg chg="mod">
          <ac:chgData name="Oscar Zamora" userId="fbd221bc-bd0e-4333-9244-d5a1e790e682" providerId="ADAL" clId="{C9B6E518-F3CA-4EDD-A15B-D6D506DFB0FF}" dt="2020-03-26T20:05:08.262" v="3683" actId="20577"/>
          <ac:spMkLst>
            <pc:docMk/>
            <pc:sldMk cId="946110295" sldId="407"/>
            <ac:spMk id="2" creationId="{4354B388-2259-4F1F-B142-739CBE157B9D}"/>
          </ac:spMkLst>
        </pc:spChg>
        <pc:spChg chg="mod">
          <ac:chgData name="Oscar Zamora" userId="fbd221bc-bd0e-4333-9244-d5a1e790e682" providerId="ADAL" clId="{C9B6E518-F3CA-4EDD-A15B-D6D506DFB0FF}" dt="2020-03-26T20:06:43.376" v="3881" actId="20577"/>
          <ac:spMkLst>
            <pc:docMk/>
            <pc:sldMk cId="946110295" sldId="407"/>
            <ac:spMk id="5" creationId="{0E4723E8-1D68-4685-AFD9-A0477FF79717}"/>
          </ac:spMkLst>
        </pc:spChg>
      </pc:sldChg>
      <pc:sldMasterChg chg="addSp delSp mod delSldLayout modSldLayout">
        <pc:chgData name="Oscar Zamora" userId="fbd221bc-bd0e-4333-9244-d5a1e790e682" providerId="ADAL" clId="{C9B6E518-F3CA-4EDD-A15B-D6D506DFB0FF}" dt="2020-03-25T20:52:46.275" v="1100" actId="22"/>
        <pc:sldMasterMkLst>
          <pc:docMk/>
          <pc:sldMasterMk cId="708753993" sldId="2147483648"/>
        </pc:sldMasterMkLst>
        <pc:spChg chg="add del">
          <ac:chgData name="Oscar Zamora" userId="fbd221bc-bd0e-4333-9244-d5a1e790e682" providerId="ADAL" clId="{C9B6E518-F3CA-4EDD-A15B-D6D506DFB0FF}" dt="2020-03-25T20:50:26.636" v="1070" actId="22"/>
          <ac:spMkLst>
            <pc:docMk/>
            <pc:sldMasterMk cId="708753993" sldId="2147483648"/>
            <ac:spMk id="8" creationId="{14EA5DA6-E449-4B67-9A88-661E7468FB12}"/>
          </ac:spMkLst>
        </pc:spChg>
        <pc:spChg chg="add del">
          <ac:chgData name="Oscar Zamora" userId="fbd221bc-bd0e-4333-9244-d5a1e790e682" providerId="ADAL" clId="{C9B6E518-F3CA-4EDD-A15B-D6D506DFB0FF}" dt="2020-03-25T20:51:48.763" v="1095" actId="22"/>
          <ac:spMkLst>
            <pc:docMk/>
            <pc:sldMasterMk cId="708753993" sldId="2147483648"/>
            <ac:spMk id="10" creationId="{B4678AC8-2B84-479B-88E5-5EC718BA4C94}"/>
          </ac:spMkLst>
        </pc:spChg>
        <pc:spChg chg="add del">
          <ac:chgData name="Oscar Zamora" userId="fbd221bc-bd0e-4333-9244-d5a1e790e682" providerId="ADAL" clId="{C9B6E518-F3CA-4EDD-A15B-D6D506DFB0FF}" dt="2020-03-25T20:52:40.717" v="1097" actId="478"/>
          <ac:spMkLst>
            <pc:docMk/>
            <pc:sldMasterMk cId="708753993" sldId="2147483648"/>
            <ac:spMk id="12" creationId="{34A8BCBB-83ED-4CD5-A7EF-A846CE979609}"/>
          </ac:spMkLst>
        </pc:spChg>
        <pc:sldLayoutChg chg="del">
          <pc:chgData name="Oscar Zamora" userId="fbd221bc-bd0e-4333-9244-d5a1e790e682" providerId="ADAL" clId="{C9B6E518-F3CA-4EDD-A15B-D6D506DFB0FF}" dt="2020-03-25T20:51:09.697" v="1080" actId="2696"/>
          <pc:sldLayoutMkLst>
            <pc:docMk/>
            <pc:sldMasterMk cId="708753993" sldId="2147483648"/>
            <pc:sldLayoutMk cId="474838879" sldId="2147483649"/>
          </pc:sldLayoutMkLst>
        </pc:sldLayoutChg>
        <pc:sldLayoutChg chg="del">
          <pc:chgData name="Oscar Zamora" userId="fbd221bc-bd0e-4333-9244-d5a1e790e682" providerId="ADAL" clId="{C9B6E518-F3CA-4EDD-A15B-D6D506DFB0FF}" dt="2020-03-25T20:51:10.358" v="1081" actId="2696"/>
          <pc:sldLayoutMkLst>
            <pc:docMk/>
            <pc:sldMasterMk cId="708753993" sldId="2147483648"/>
            <pc:sldLayoutMk cId="1761712862" sldId="2147483650"/>
          </pc:sldLayoutMkLst>
        </pc:sldLayoutChg>
        <pc:sldLayoutChg chg="del">
          <pc:chgData name="Oscar Zamora" userId="fbd221bc-bd0e-4333-9244-d5a1e790e682" providerId="ADAL" clId="{C9B6E518-F3CA-4EDD-A15B-D6D506DFB0FF}" dt="2020-03-25T20:51:10.943" v="1082" actId="2696"/>
          <pc:sldLayoutMkLst>
            <pc:docMk/>
            <pc:sldMasterMk cId="708753993" sldId="2147483648"/>
            <pc:sldLayoutMk cId="2637372504" sldId="2147483651"/>
          </pc:sldLayoutMkLst>
        </pc:sldLayoutChg>
        <pc:sldLayoutChg chg="del">
          <pc:chgData name="Oscar Zamora" userId="fbd221bc-bd0e-4333-9244-d5a1e790e682" providerId="ADAL" clId="{C9B6E518-F3CA-4EDD-A15B-D6D506DFB0FF}" dt="2020-03-25T20:51:11.503" v="1083" actId="2696"/>
          <pc:sldLayoutMkLst>
            <pc:docMk/>
            <pc:sldMasterMk cId="708753993" sldId="2147483648"/>
            <pc:sldLayoutMk cId="821205466" sldId="2147483652"/>
          </pc:sldLayoutMkLst>
        </pc:sldLayoutChg>
        <pc:sldLayoutChg chg="del">
          <pc:chgData name="Oscar Zamora" userId="fbd221bc-bd0e-4333-9244-d5a1e790e682" providerId="ADAL" clId="{C9B6E518-F3CA-4EDD-A15B-D6D506DFB0FF}" dt="2020-03-25T20:51:12.031" v="1084" actId="2696"/>
          <pc:sldLayoutMkLst>
            <pc:docMk/>
            <pc:sldMasterMk cId="708753993" sldId="2147483648"/>
            <pc:sldLayoutMk cId="881422807" sldId="2147483653"/>
          </pc:sldLayoutMkLst>
        </pc:sldLayoutChg>
        <pc:sldLayoutChg chg="del">
          <pc:chgData name="Oscar Zamora" userId="fbd221bc-bd0e-4333-9244-d5a1e790e682" providerId="ADAL" clId="{C9B6E518-F3CA-4EDD-A15B-D6D506DFB0FF}" dt="2020-03-25T20:51:12.567" v="1085" actId="2696"/>
          <pc:sldLayoutMkLst>
            <pc:docMk/>
            <pc:sldMasterMk cId="708753993" sldId="2147483648"/>
            <pc:sldLayoutMk cId="840942776" sldId="2147483654"/>
          </pc:sldLayoutMkLst>
        </pc:sldLayoutChg>
        <pc:sldLayoutChg chg="del">
          <pc:chgData name="Oscar Zamora" userId="fbd221bc-bd0e-4333-9244-d5a1e790e682" providerId="ADAL" clId="{C9B6E518-F3CA-4EDD-A15B-D6D506DFB0FF}" dt="2020-03-25T20:51:13.094" v="1086" actId="2696"/>
          <pc:sldLayoutMkLst>
            <pc:docMk/>
            <pc:sldMasterMk cId="708753993" sldId="2147483648"/>
            <pc:sldLayoutMk cId="3211902425" sldId="2147483655"/>
          </pc:sldLayoutMkLst>
        </pc:sldLayoutChg>
        <pc:sldLayoutChg chg="del">
          <pc:chgData name="Oscar Zamora" userId="fbd221bc-bd0e-4333-9244-d5a1e790e682" providerId="ADAL" clId="{C9B6E518-F3CA-4EDD-A15B-D6D506DFB0FF}" dt="2020-03-25T20:51:13.624" v="1087" actId="2696"/>
          <pc:sldLayoutMkLst>
            <pc:docMk/>
            <pc:sldMasterMk cId="708753993" sldId="2147483648"/>
            <pc:sldLayoutMk cId="139745971" sldId="2147483656"/>
          </pc:sldLayoutMkLst>
        </pc:sldLayoutChg>
        <pc:sldLayoutChg chg="del">
          <pc:chgData name="Oscar Zamora" userId="fbd221bc-bd0e-4333-9244-d5a1e790e682" providerId="ADAL" clId="{C9B6E518-F3CA-4EDD-A15B-D6D506DFB0FF}" dt="2020-03-25T20:51:14.119" v="1088" actId="2696"/>
          <pc:sldLayoutMkLst>
            <pc:docMk/>
            <pc:sldMasterMk cId="708753993" sldId="2147483648"/>
            <pc:sldLayoutMk cId="860000960" sldId="2147483657"/>
          </pc:sldLayoutMkLst>
        </pc:sldLayoutChg>
        <pc:sldLayoutChg chg="del">
          <pc:chgData name="Oscar Zamora" userId="fbd221bc-bd0e-4333-9244-d5a1e790e682" providerId="ADAL" clId="{C9B6E518-F3CA-4EDD-A15B-D6D506DFB0FF}" dt="2020-03-25T20:51:14.625" v="1089" actId="2696"/>
          <pc:sldLayoutMkLst>
            <pc:docMk/>
            <pc:sldMasterMk cId="708753993" sldId="2147483648"/>
            <pc:sldLayoutMk cId="2223245254" sldId="2147483658"/>
          </pc:sldLayoutMkLst>
        </pc:sldLayoutChg>
        <pc:sldLayoutChg chg="del">
          <pc:chgData name="Oscar Zamora" userId="fbd221bc-bd0e-4333-9244-d5a1e790e682" providerId="ADAL" clId="{C9B6E518-F3CA-4EDD-A15B-D6D506DFB0FF}" dt="2020-03-25T20:51:15.111" v="1090" actId="2696"/>
          <pc:sldLayoutMkLst>
            <pc:docMk/>
            <pc:sldMasterMk cId="708753993" sldId="2147483648"/>
            <pc:sldLayoutMk cId="2920639586" sldId="2147483659"/>
          </pc:sldLayoutMkLst>
        </pc:sldLayoutChg>
        <pc:sldLayoutChg chg="del">
          <pc:chgData name="Oscar Zamora" userId="fbd221bc-bd0e-4333-9244-d5a1e790e682" providerId="ADAL" clId="{C9B6E518-F3CA-4EDD-A15B-D6D506DFB0FF}" dt="2020-03-25T20:51:15.691" v="1091" actId="2696"/>
          <pc:sldLayoutMkLst>
            <pc:docMk/>
            <pc:sldMasterMk cId="708753993" sldId="2147483648"/>
            <pc:sldLayoutMk cId="2574984869" sldId="2147483660"/>
          </pc:sldLayoutMkLst>
        </pc:sldLayoutChg>
        <pc:sldLayoutChg chg="addSp mod">
          <pc:chgData name="Oscar Zamora" userId="fbd221bc-bd0e-4333-9244-d5a1e790e682" providerId="ADAL" clId="{C9B6E518-F3CA-4EDD-A15B-D6D506DFB0FF}" dt="2020-03-25T20:52:43.210" v="1098" actId="22"/>
          <pc:sldLayoutMkLst>
            <pc:docMk/>
            <pc:sldMasterMk cId="708753993" sldId="2147483648"/>
            <pc:sldLayoutMk cId="1927059584" sldId="2147483661"/>
          </pc:sldLayoutMkLst>
          <pc:spChg chg="add">
            <ac:chgData name="Oscar Zamora" userId="fbd221bc-bd0e-4333-9244-d5a1e790e682" providerId="ADAL" clId="{C9B6E518-F3CA-4EDD-A15B-D6D506DFB0FF}" dt="2020-03-25T20:52:43.210" v="1098" actId="22"/>
            <ac:spMkLst>
              <pc:docMk/>
              <pc:sldMasterMk cId="708753993" sldId="2147483648"/>
              <pc:sldLayoutMk cId="1927059584" sldId="2147483661"/>
              <ac:spMk id="2" creationId="{63171006-FD74-4EBC-B587-C37EE88E8293}"/>
            </ac:spMkLst>
          </pc:spChg>
        </pc:sldLayoutChg>
        <pc:sldLayoutChg chg="del">
          <pc:chgData name="Oscar Zamora" userId="fbd221bc-bd0e-4333-9244-d5a1e790e682" providerId="ADAL" clId="{C9B6E518-F3CA-4EDD-A15B-D6D506DFB0FF}" dt="2020-03-25T20:51:19.288" v="1093" actId="2696"/>
          <pc:sldLayoutMkLst>
            <pc:docMk/>
            <pc:sldMasterMk cId="3405406379" sldId="2147483662"/>
            <pc:sldLayoutMk cId="3037316873" sldId="2147483672"/>
          </pc:sldLayoutMkLst>
        </pc:sldLayoutChg>
        <pc:sldLayoutChg chg="del">
          <pc:chgData name="Oscar Zamora" userId="fbd221bc-bd0e-4333-9244-d5a1e790e682" providerId="ADAL" clId="{C9B6E518-F3CA-4EDD-A15B-D6D506DFB0FF}" dt="2020-03-25T20:50:55.854" v="1073" actId="2696"/>
          <pc:sldLayoutMkLst>
            <pc:docMk/>
            <pc:sldMasterMk cId="708753993" sldId="2147483648"/>
            <pc:sldLayoutMk cId="1074307920" sldId="2147483674"/>
          </pc:sldLayoutMkLst>
        </pc:sldLayoutChg>
        <pc:sldLayoutChg chg="addSp delSp mod">
          <pc:chgData name="Oscar Zamora" userId="fbd221bc-bd0e-4333-9244-d5a1e790e682" providerId="ADAL" clId="{C9B6E518-F3CA-4EDD-A15B-D6D506DFB0FF}" dt="2020-03-25T20:52:46.275" v="1100" actId="22"/>
          <pc:sldLayoutMkLst>
            <pc:docMk/>
            <pc:sldMasterMk cId="708753993" sldId="2147483648"/>
            <pc:sldLayoutMk cId="3121927191" sldId="2147483674"/>
          </pc:sldLayoutMkLst>
          <pc:spChg chg="add del">
            <ac:chgData name="Oscar Zamora" userId="fbd221bc-bd0e-4333-9244-d5a1e790e682" providerId="ADAL" clId="{C9B6E518-F3CA-4EDD-A15B-D6D506DFB0FF}" dt="2020-03-25T20:52:46.275" v="1100" actId="22"/>
            <ac:spMkLst>
              <pc:docMk/>
              <pc:sldMasterMk cId="708753993" sldId="2147483648"/>
              <pc:sldLayoutMk cId="3121927191" sldId="2147483674"/>
              <ac:spMk id="3" creationId="{69C51BDE-0647-4E62-B840-B5AC2294D407}"/>
            </ac:spMkLst>
          </pc:spChg>
        </pc:sldLayoutChg>
      </pc:sldMasterChg>
      <pc:sldMasterChg chg="delSldLayout">
        <pc:chgData name="Oscar Zamora" userId="fbd221bc-bd0e-4333-9244-d5a1e790e682" providerId="ADAL" clId="{C9B6E518-F3CA-4EDD-A15B-D6D506DFB0FF}" dt="2020-03-25T20:51:06.488" v="1079" actId="2696"/>
        <pc:sldMasterMkLst>
          <pc:docMk/>
          <pc:sldMasterMk cId="3405406379" sldId="2147483662"/>
        </pc:sldMasterMkLst>
        <pc:sldLayoutChg chg="del">
          <pc:chgData name="Oscar Zamora" userId="fbd221bc-bd0e-4333-9244-d5a1e790e682" providerId="ADAL" clId="{C9B6E518-F3CA-4EDD-A15B-D6D506DFB0FF}" dt="2020-03-25T20:50:50.841" v="1071" actId="2696"/>
          <pc:sldLayoutMkLst>
            <pc:docMk/>
            <pc:sldMasterMk cId="3405406379" sldId="2147483662"/>
            <pc:sldLayoutMk cId="1829031237" sldId="2147483663"/>
          </pc:sldLayoutMkLst>
        </pc:sldLayoutChg>
        <pc:sldLayoutChg chg="del">
          <pc:chgData name="Oscar Zamora" userId="fbd221bc-bd0e-4333-9244-d5a1e790e682" providerId="ADAL" clId="{C9B6E518-F3CA-4EDD-A15B-D6D506DFB0FF}" dt="2020-03-25T20:50:52.456" v="1072" actId="2696"/>
          <pc:sldLayoutMkLst>
            <pc:docMk/>
            <pc:sldMasterMk cId="3405406379" sldId="2147483662"/>
            <pc:sldLayoutMk cId="1858301428" sldId="2147483664"/>
          </pc:sldLayoutMkLst>
        </pc:sldLayoutChg>
        <pc:sldLayoutChg chg="del">
          <pc:chgData name="Oscar Zamora" userId="fbd221bc-bd0e-4333-9244-d5a1e790e682" providerId="ADAL" clId="{C9B6E518-F3CA-4EDD-A15B-D6D506DFB0FF}" dt="2020-03-25T20:50:59.322" v="1074" actId="2696"/>
          <pc:sldLayoutMkLst>
            <pc:docMk/>
            <pc:sldMasterMk cId="3405406379" sldId="2147483662"/>
            <pc:sldLayoutMk cId="568327956" sldId="2147483665"/>
          </pc:sldLayoutMkLst>
        </pc:sldLayoutChg>
        <pc:sldLayoutChg chg="del">
          <pc:chgData name="Oscar Zamora" userId="fbd221bc-bd0e-4333-9244-d5a1e790e682" providerId="ADAL" clId="{C9B6E518-F3CA-4EDD-A15B-D6D506DFB0FF}" dt="2020-03-25T20:51:00.207" v="1075" actId="2696"/>
          <pc:sldLayoutMkLst>
            <pc:docMk/>
            <pc:sldMasterMk cId="3405406379" sldId="2147483662"/>
            <pc:sldLayoutMk cId="4133217044" sldId="2147483666"/>
          </pc:sldLayoutMkLst>
        </pc:sldLayoutChg>
        <pc:sldLayoutChg chg="del">
          <pc:chgData name="Oscar Zamora" userId="fbd221bc-bd0e-4333-9244-d5a1e790e682" providerId="ADAL" clId="{C9B6E518-F3CA-4EDD-A15B-D6D506DFB0FF}" dt="2020-03-25T20:51:03.415" v="1076" actId="2696"/>
          <pc:sldLayoutMkLst>
            <pc:docMk/>
            <pc:sldMasterMk cId="3405406379" sldId="2147483662"/>
            <pc:sldLayoutMk cId="2142248903" sldId="2147483668"/>
          </pc:sldLayoutMkLst>
        </pc:sldLayoutChg>
        <pc:sldLayoutChg chg="del">
          <pc:chgData name="Oscar Zamora" userId="fbd221bc-bd0e-4333-9244-d5a1e790e682" providerId="ADAL" clId="{C9B6E518-F3CA-4EDD-A15B-D6D506DFB0FF}" dt="2020-03-25T20:51:04.795" v="1077" actId="2696"/>
          <pc:sldLayoutMkLst>
            <pc:docMk/>
            <pc:sldMasterMk cId="3405406379" sldId="2147483662"/>
            <pc:sldLayoutMk cId="839191319" sldId="2147483669"/>
          </pc:sldLayoutMkLst>
        </pc:sldLayoutChg>
        <pc:sldLayoutChg chg="del">
          <pc:chgData name="Oscar Zamora" userId="fbd221bc-bd0e-4333-9244-d5a1e790e682" providerId="ADAL" clId="{C9B6E518-F3CA-4EDD-A15B-D6D506DFB0FF}" dt="2020-03-25T20:51:05.368" v="1078" actId="2696"/>
          <pc:sldLayoutMkLst>
            <pc:docMk/>
            <pc:sldMasterMk cId="3405406379" sldId="2147483662"/>
            <pc:sldLayoutMk cId="3348388009" sldId="2147483670"/>
          </pc:sldLayoutMkLst>
        </pc:sldLayoutChg>
        <pc:sldLayoutChg chg="del">
          <pc:chgData name="Oscar Zamora" userId="fbd221bc-bd0e-4333-9244-d5a1e790e682" providerId="ADAL" clId="{C9B6E518-F3CA-4EDD-A15B-D6D506DFB0FF}" dt="2020-03-25T20:51:06.488" v="1079" actId="2696"/>
          <pc:sldLayoutMkLst>
            <pc:docMk/>
            <pc:sldMasterMk cId="3405406379" sldId="2147483662"/>
            <pc:sldLayoutMk cId="1767518706" sldId="2147483671"/>
          </pc:sldLayoutMkLst>
        </pc:sldLayoutChg>
      </pc:sldMasterChg>
    </pc:docChg>
  </pc:docChgLst>
  <pc:docChgLst>
    <pc:chgData name="Oscar Zamora" userId="fbd221bc-bd0e-4333-9244-d5a1e790e682" providerId="ADAL" clId="{74F24E96-EC7B-420C-AF96-3FD2DF07197F}"/>
    <pc:docChg chg="modSld">
      <pc:chgData name="Oscar Zamora" userId="fbd221bc-bd0e-4333-9244-d5a1e790e682" providerId="ADAL" clId="{74F24E96-EC7B-420C-AF96-3FD2DF07197F}" dt="2020-04-06T13:25:17.580" v="0" actId="20577"/>
      <pc:docMkLst>
        <pc:docMk/>
      </pc:docMkLst>
      <pc:sldChg chg="modSp mod">
        <pc:chgData name="Oscar Zamora" userId="fbd221bc-bd0e-4333-9244-d5a1e790e682" providerId="ADAL" clId="{74F24E96-EC7B-420C-AF96-3FD2DF07197F}" dt="2020-04-06T13:25:17.580" v="0" actId="20577"/>
        <pc:sldMkLst>
          <pc:docMk/>
          <pc:sldMk cId="3540190099" sldId="316"/>
        </pc:sldMkLst>
        <pc:spChg chg="mod">
          <ac:chgData name="Oscar Zamora" userId="fbd221bc-bd0e-4333-9244-d5a1e790e682" providerId="ADAL" clId="{74F24E96-EC7B-420C-AF96-3FD2DF07197F}" dt="2020-04-06T13:25:17.580" v="0" actId="20577"/>
          <ac:spMkLst>
            <pc:docMk/>
            <pc:sldMk cId="3540190099" sldId="316"/>
            <ac:spMk id="305" creationId="{00000000-0000-0000-0000-000000000000}"/>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619363"/>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idx="1"/>
          </p:nvPr>
        </p:nvSpPr>
        <p:spPr>
          <a:xfrm>
            <a:off x="4143587" y="1"/>
            <a:ext cx="3169920" cy="619363"/>
          </a:xfrm>
          <a:prstGeom prst="rect">
            <a:avLst/>
          </a:prstGeom>
        </p:spPr>
        <p:txBody>
          <a:bodyPr vert="horz" lIns="96661" tIns="48331" rIns="96661" bIns="48331" rtlCol="0"/>
          <a:lstStyle>
            <a:lvl1pPr algn="r">
              <a:defRPr sz="1300"/>
            </a:lvl1pPr>
          </a:lstStyle>
          <a:p>
            <a:fld id="{5859FBD1-4A5B-42DB-B77E-6A6F179A7FED}" type="datetimeFigureOut">
              <a:rPr lang="en-US" smtClean="0"/>
              <a:t>4/6/2020</a:t>
            </a:fld>
            <a:endParaRPr lang="en-US"/>
          </a:p>
        </p:txBody>
      </p:sp>
      <p:sp>
        <p:nvSpPr>
          <p:cNvPr id="4" name="Slide Image Placeholder 3"/>
          <p:cNvSpPr>
            <a:spLocks noGrp="1" noRot="1" noChangeAspect="1"/>
          </p:cNvSpPr>
          <p:nvPr>
            <p:ph type="sldImg" idx="2"/>
          </p:nvPr>
        </p:nvSpPr>
        <p:spPr>
          <a:xfrm>
            <a:off x="-44450" y="1543050"/>
            <a:ext cx="7404100" cy="4165600"/>
          </a:xfrm>
          <a:prstGeom prst="rect">
            <a:avLst/>
          </a:prstGeom>
          <a:noFill/>
          <a:ln w="12700">
            <a:solidFill>
              <a:prstClr val="black"/>
            </a:solidFill>
          </a:ln>
        </p:spPr>
        <p:txBody>
          <a:bodyPr vert="horz" lIns="96661" tIns="48331" rIns="96661" bIns="48331" rtlCol="0" anchor="ctr"/>
          <a:lstStyle/>
          <a:p>
            <a:endParaRPr lang="en-US"/>
          </a:p>
        </p:txBody>
      </p:sp>
      <p:sp>
        <p:nvSpPr>
          <p:cNvPr id="5" name="Notes Placeholder 4"/>
          <p:cNvSpPr>
            <a:spLocks noGrp="1"/>
          </p:cNvSpPr>
          <p:nvPr>
            <p:ph type="body" sz="quarter" idx="3"/>
          </p:nvPr>
        </p:nvSpPr>
        <p:spPr>
          <a:xfrm>
            <a:off x="731520" y="5940743"/>
            <a:ext cx="5852160" cy="4860608"/>
          </a:xfrm>
          <a:prstGeom prst="rect">
            <a:avLst/>
          </a:prstGeom>
        </p:spPr>
        <p:txBody>
          <a:bodyPr vert="horz" lIns="96661" tIns="48331" rIns="96661" bIns="48331"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11725038"/>
            <a:ext cx="3169920" cy="619362"/>
          </a:xfrm>
          <a:prstGeom prst="rect">
            <a:avLst/>
          </a:prstGeom>
        </p:spPr>
        <p:txBody>
          <a:bodyPr vert="horz" lIns="96661" tIns="48331" rIns="96661" bIns="48331" rtlCol="0" anchor="b"/>
          <a:lstStyle>
            <a:lvl1pPr algn="l">
              <a:defRPr sz="1300"/>
            </a:lvl1pPr>
          </a:lstStyle>
          <a:p>
            <a:endParaRPr lang="en-US"/>
          </a:p>
        </p:txBody>
      </p:sp>
      <p:sp>
        <p:nvSpPr>
          <p:cNvPr id="7" name="Slide Number Placeholder 6"/>
          <p:cNvSpPr>
            <a:spLocks noGrp="1"/>
          </p:cNvSpPr>
          <p:nvPr>
            <p:ph type="sldNum" sz="quarter" idx="5"/>
          </p:nvPr>
        </p:nvSpPr>
        <p:spPr>
          <a:xfrm>
            <a:off x="4143587" y="11725038"/>
            <a:ext cx="3169920" cy="619362"/>
          </a:xfrm>
          <a:prstGeom prst="rect">
            <a:avLst/>
          </a:prstGeom>
        </p:spPr>
        <p:txBody>
          <a:bodyPr vert="horz" lIns="96661" tIns="48331" rIns="96661" bIns="48331" rtlCol="0" anchor="b"/>
          <a:lstStyle>
            <a:lvl1pPr algn="r">
              <a:defRPr sz="1300"/>
            </a:lvl1pPr>
          </a:lstStyle>
          <a:p>
            <a:fld id="{AFB227C8-8A57-4CC2-9E58-1AF73479D6F1}" type="slidenum">
              <a:rPr lang="en-US" smtClean="0"/>
              <a:t>‹#›</a:t>
            </a:fld>
            <a:endParaRPr lang="en-US"/>
          </a:p>
        </p:txBody>
      </p:sp>
    </p:spTree>
    <p:extLst>
      <p:ext uri="{BB962C8B-B14F-4D97-AF65-F5344CB8AC3E}">
        <p14:creationId xmlns:p14="http://schemas.microsoft.com/office/powerpoint/2010/main" val="32318630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www.ibm.com/support/knowledgecenter/SSZJPZ_11.5.0/com.ibm.swg.im.iis.conn.drs.usage.doc/topics/c_drs_connector_overview.html?view=kc" TargetMode="External"/><Relationship Id="rId2" Type="http://schemas.openxmlformats.org/officeDocument/2006/relationships/slide" Target="../slides/slide11.xml"/><Relationship Id="rId1" Type="http://schemas.openxmlformats.org/officeDocument/2006/relationships/notesMaster" Target="../notesMasters/notesMaster1.xml"/><Relationship Id="rId6" Type="http://schemas.openxmlformats.org/officeDocument/2006/relationships/hyperlink" Target="https://www.ibm.com/support/knowledgecenter/SSZJPZ_11.5.0/com.ibm.swg.im.iis.conn.drs.doc/topics/DRS020b.html?view=kc" TargetMode="External"/><Relationship Id="rId5" Type="http://schemas.openxmlformats.org/officeDocument/2006/relationships/hyperlink" Target="https://www.ibm.com/support/knowledgecenter/SSZJPZ_11.5.0/com.ibm.swg.im.iis.conn.drs.usage.doc/topics/c_drs_connector_settings.html?view=kc" TargetMode="External"/><Relationship Id="rId4" Type="http://schemas.openxmlformats.org/officeDocument/2006/relationships/hyperlink" Target="https://www.ibm.com/support/knowledgecenter/SSZJPZ_11.5.0/com.ibm.swg.im.iis.conn.drs.usage.doc/topics/c_drs_configuration.html?view=kc" TargetMode="Externa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Segoe UI" panose="020B0502040204020203" pitchFamily="34" charset="0"/>
            </a:endParaRPr>
          </a:p>
        </p:txBody>
      </p:sp>
      <p:sp>
        <p:nvSpPr>
          <p:cNvPr id="6" name="Date Placeholder 5"/>
          <p:cNvSpPr>
            <a:spLocks noGrp="1"/>
          </p:cNvSpPr>
          <p:nvPr>
            <p:ph type="dt" idx="12"/>
          </p:nvPr>
        </p:nvSpPr>
        <p:spPr/>
        <p:txBody>
          <a:bodyPr/>
          <a:lstStyle/>
          <a:p>
            <a:pPr defTabSz="966612">
              <a:defRPr/>
            </a:pPr>
            <a:fld id="{C5C565FA-3C99-4787-98A7-FCE46D2F55AF}" type="datetime1">
              <a:rPr lang="en-US">
                <a:solidFill>
                  <a:prstClr val="black"/>
                </a:solidFill>
                <a:latin typeface="Segoe UI" panose="020B0502040204020203" pitchFamily="34" charset="0"/>
              </a:rPr>
              <a:pPr defTabSz="966612">
                <a:defRPr/>
              </a:pPr>
              <a:t>4/6/2020</a:t>
            </a:fld>
            <a:endParaRPr lang="en-US" dirty="0">
              <a:solidFill>
                <a:prstClr val="black"/>
              </a:solidFill>
              <a:latin typeface="Segoe UI" panose="020B0502040204020203" pitchFamily="34" charset="0"/>
            </a:endParaRPr>
          </a:p>
        </p:txBody>
      </p:sp>
      <p:sp>
        <p:nvSpPr>
          <p:cNvPr id="7" name="Slide Number Placeholder 6"/>
          <p:cNvSpPr>
            <a:spLocks noGrp="1"/>
          </p:cNvSpPr>
          <p:nvPr>
            <p:ph type="sldNum" sz="quarter" idx="13"/>
          </p:nvPr>
        </p:nvSpPr>
        <p:spPr/>
        <p:txBody>
          <a:bodyPr/>
          <a:lstStyle/>
          <a:p>
            <a:pPr defTabSz="966612">
              <a:defRPr/>
            </a:pPr>
            <a:fld id="{B4008EB6-D09E-4580-8CD6-DDB14511944F}" type="slidenum">
              <a:rPr lang="en-US">
                <a:solidFill>
                  <a:prstClr val="black"/>
                </a:solidFill>
                <a:latin typeface="Segoe UI" panose="020B0502040204020203" pitchFamily="34" charset="0"/>
              </a:rPr>
              <a:pPr defTabSz="966612">
                <a:defRPr/>
              </a:pPr>
              <a:t>1</a:t>
            </a:fld>
            <a:endParaRPr lang="en-US" dirty="0">
              <a:solidFill>
                <a:prstClr val="black"/>
              </a:solidFill>
              <a:latin typeface="Segoe UI" panose="020B0502040204020203" pitchFamily="34" charset="0"/>
            </a:endParaRPr>
          </a:p>
        </p:txBody>
      </p:sp>
      <p:sp>
        <p:nvSpPr>
          <p:cNvPr id="10" name="Footer Placeholder 9"/>
          <p:cNvSpPr>
            <a:spLocks noGrp="1"/>
          </p:cNvSpPr>
          <p:nvPr>
            <p:ph type="ftr" sz="quarter" idx="14"/>
          </p:nvPr>
        </p:nvSpPr>
        <p:spPr/>
        <p:txBody>
          <a:bodyPr/>
          <a:lstStyle/>
          <a:p>
            <a:pPr defTabSz="966294"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2585171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6612"/>
            <a:r>
              <a:rPr lang="en-US" dirty="0"/>
              <a:t>Example of Netezza job.  This job both updates and inserts rows to a table that has a key in Netezza</a:t>
            </a:r>
          </a:p>
          <a:p>
            <a:endParaRPr lang="en-US" dirty="0"/>
          </a:p>
        </p:txBody>
      </p:sp>
      <p:sp>
        <p:nvSpPr>
          <p:cNvPr id="4" name="Slide Number Placeholder 3"/>
          <p:cNvSpPr>
            <a:spLocks noGrp="1"/>
          </p:cNvSpPr>
          <p:nvPr>
            <p:ph type="sldNum" sz="quarter" idx="5"/>
          </p:nvPr>
        </p:nvSpPr>
        <p:spPr/>
        <p:txBody>
          <a:bodyPr/>
          <a:lstStyle/>
          <a:p>
            <a:fld id="{AFB227C8-8A57-4CC2-9E58-1AF73479D6F1}" type="slidenum">
              <a:rPr lang="en-US" smtClean="0"/>
              <a:t>10</a:t>
            </a:fld>
            <a:endParaRPr lang="en-US"/>
          </a:p>
        </p:txBody>
      </p:sp>
    </p:spTree>
    <p:extLst>
      <p:ext uri="{BB962C8B-B14F-4D97-AF65-F5344CB8AC3E}">
        <p14:creationId xmlns:p14="http://schemas.microsoft.com/office/powerpoint/2010/main" val="17833953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lection of ODBC Connector will only allow singleton transactions</a:t>
            </a:r>
          </a:p>
          <a:p>
            <a:r>
              <a:rPr lang="en-US" dirty="0"/>
              <a:t>Selection of DRS Connector will allow for selection of Bulk Insert option</a:t>
            </a:r>
          </a:p>
          <a:p>
            <a:r>
              <a:rPr lang="en-US" dirty="0"/>
              <a:t>All stored procedures run on Azure Synapse Analytics must be executed via the Stored Procedure Database option from this selection screen</a:t>
            </a:r>
          </a:p>
          <a:p>
            <a:endParaRPr lang="en-US" dirty="0"/>
          </a:p>
          <a:p>
            <a:r>
              <a:rPr lang="en-US" dirty="0">
                <a:effectLst/>
                <a:hlinkClick r:id="rId3"/>
              </a:rPr>
              <a:t>Overview</a:t>
            </a:r>
            <a:br>
              <a:rPr lang="en-US" dirty="0">
                <a:effectLst/>
              </a:rPr>
            </a:br>
            <a:r>
              <a:rPr lang="en-US" dirty="0">
                <a:effectLst/>
              </a:rPr>
              <a:t>Use the DRS Connector stage to access relational database management systems by using the native interfaces that are available for the corresponding databases. The choice of the database type is not determined when the stage is placed on the job canvas but is instead specified when the stage is configured. </a:t>
            </a:r>
          </a:p>
          <a:p>
            <a:r>
              <a:rPr lang="en-US" dirty="0">
                <a:effectLst/>
                <a:hlinkClick r:id="rId4"/>
              </a:rPr>
              <a:t>Configuration</a:t>
            </a:r>
            <a:br>
              <a:rPr lang="en-US" dirty="0">
                <a:effectLst/>
              </a:rPr>
            </a:br>
            <a:r>
              <a:rPr lang="en-US" dirty="0">
                <a:effectLst/>
              </a:rPr>
              <a:t>The DRS Connector stage supports IBM® DB2®, Oracle, and ODBC data sources. For other database types, you can configure the DRS Connector stage to use the ODBC database type and access the databases through the ODBC drivers that are included with InfoSphere Information Server.</a:t>
            </a:r>
          </a:p>
          <a:p>
            <a:r>
              <a:rPr lang="en-US" dirty="0">
                <a:effectLst/>
                <a:hlinkClick r:id="rId5"/>
              </a:rPr>
              <a:t>Settings for the DRS Connector stage</a:t>
            </a:r>
            <a:br>
              <a:rPr lang="en-US" dirty="0">
                <a:effectLst/>
              </a:rPr>
            </a:br>
            <a:r>
              <a:rPr lang="en-US" dirty="0">
                <a:effectLst/>
              </a:rPr>
              <a:t>After the DRS Connector stage is placed on the job canvas, it needs to be configured to perform the operation intended by the job design.</a:t>
            </a:r>
          </a:p>
          <a:p>
            <a:r>
              <a:rPr lang="en-US" dirty="0">
                <a:effectLst/>
                <a:hlinkClick r:id="rId6"/>
              </a:rPr>
              <a:t>Defining a DRS Connector stage connection to the database</a:t>
            </a:r>
            <a:br>
              <a:rPr lang="en-US" dirty="0">
                <a:effectLst/>
              </a:rPr>
            </a:br>
            <a:r>
              <a:rPr lang="en-US" dirty="0">
                <a:effectLst/>
              </a:rPr>
              <a:t>When a new DRS Connector stage is added to the server or parallel canvas, you must specify the connection information for the database that the stage connects to at run time.</a:t>
            </a:r>
          </a:p>
          <a:p>
            <a:endParaRPr lang="en-US" dirty="0"/>
          </a:p>
        </p:txBody>
      </p:sp>
      <p:sp>
        <p:nvSpPr>
          <p:cNvPr id="4" name="Slide Number Placeholder 3"/>
          <p:cNvSpPr>
            <a:spLocks noGrp="1"/>
          </p:cNvSpPr>
          <p:nvPr>
            <p:ph type="sldNum" sz="quarter" idx="10"/>
          </p:nvPr>
        </p:nvSpPr>
        <p:spPr/>
        <p:txBody>
          <a:bodyPr/>
          <a:lstStyle/>
          <a:p>
            <a:fld id="{AFB227C8-8A57-4CC2-9E58-1AF73479D6F1}" type="slidenum">
              <a:rPr lang="en-US" smtClean="0"/>
              <a:t>11</a:t>
            </a:fld>
            <a:endParaRPr lang="en-US"/>
          </a:p>
        </p:txBody>
      </p:sp>
    </p:spTree>
    <p:extLst>
      <p:ext uri="{BB962C8B-B14F-4D97-AF65-F5344CB8AC3E}">
        <p14:creationId xmlns:p14="http://schemas.microsoft.com/office/powerpoint/2010/main" val="36234324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B227C8-8A57-4CC2-9E58-1AF73479D6F1}" type="slidenum">
              <a:rPr lang="en-US" smtClean="0"/>
              <a:t>12</a:t>
            </a:fld>
            <a:endParaRPr lang="en-US"/>
          </a:p>
        </p:txBody>
      </p:sp>
    </p:spTree>
    <p:extLst>
      <p:ext uri="{BB962C8B-B14F-4D97-AF65-F5344CB8AC3E}">
        <p14:creationId xmlns:p14="http://schemas.microsoft.com/office/powerpoint/2010/main" val="393445381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B227C8-8A57-4CC2-9E58-1AF73479D6F1}" type="slidenum">
              <a:rPr lang="en-US" smtClean="0"/>
              <a:t>13</a:t>
            </a:fld>
            <a:endParaRPr lang="en-US"/>
          </a:p>
        </p:txBody>
      </p:sp>
    </p:spTree>
    <p:extLst>
      <p:ext uri="{BB962C8B-B14F-4D97-AF65-F5344CB8AC3E}">
        <p14:creationId xmlns:p14="http://schemas.microsoft.com/office/powerpoint/2010/main" val="393445381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ransformer – most often used</a:t>
            </a:r>
          </a:p>
          <a:p>
            <a:endParaRPr lang="en-US" dirty="0"/>
          </a:p>
        </p:txBody>
      </p:sp>
      <p:sp>
        <p:nvSpPr>
          <p:cNvPr id="4" name="Slide Number Placeholder 3"/>
          <p:cNvSpPr>
            <a:spLocks noGrp="1"/>
          </p:cNvSpPr>
          <p:nvPr>
            <p:ph type="sldNum" sz="quarter" idx="10"/>
          </p:nvPr>
        </p:nvSpPr>
        <p:spPr/>
        <p:txBody>
          <a:bodyPr/>
          <a:lstStyle/>
          <a:p>
            <a:fld id="{AFB227C8-8A57-4CC2-9E58-1AF73479D6F1}" type="slidenum">
              <a:rPr lang="en-US" smtClean="0"/>
              <a:t>14</a:t>
            </a:fld>
            <a:endParaRPr lang="en-US"/>
          </a:p>
        </p:txBody>
      </p:sp>
    </p:spTree>
    <p:extLst>
      <p:ext uri="{BB962C8B-B14F-4D97-AF65-F5344CB8AC3E}">
        <p14:creationId xmlns:p14="http://schemas.microsoft.com/office/powerpoint/2010/main" val="326634836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FB227C8-8A57-4CC2-9E58-1AF73479D6F1}" type="slidenum">
              <a:rPr lang="en-US" smtClean="0"/>
              <a:t>15</a:t>
            </a:fld>
            <a:endParaRPr lang="en-US"/>
          </a:p>
        </p:txBody>
      </p:sp>
    </p:spTree>
    <p:extLst>
      <p:ext uri="{BB962C8B-B14F-4D97-AF65-F5344CB8AC3E}">
        <p14:creationId xmlns:p14="http://schemas.microsoft.com/office/powerpoint/2010/main" val="166242124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B227C8-8A57-4CC2-9E58-1AF73479D6F1}" type="slidenum">
              <a:rPr lang="en-US" smtClean="0"/>
              <a:t>16</a:t>
            </a:fld>
            <a:endParaRPr lang="en-US"/>
          </a:p>
        </p:txBody>
      </p:sp>
    </p:spTree>
    <p:extLst>
      <p:ext uri="{BB962C8B-B14F-4D97-AF65-F5344CB8AC3E}">
        <p14:creationId xmlns:p14="http://schemas.microsoft.com/office/powerpoint/2010/main" val="296175162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very table that is used in the job must be imported individually.  Select Import / Table Definitions / Orchestrate Schema Definitions.  </a:t>
            </a:r>
          </a:p>
        </p:txBody>
      </p:sp>
      <p:sp>
        <p:nvSpPr>
          <p:cNvPr id="4" name="Slide Number Placeholder 3"/>
          <p:cNvSpPr>
            <a:spLocks noGrp="1"/>
          </p:cNvSpPr>
          <p:nvPr>
            <p:ph type="sldNum" sz="quarter" idx="5"/>
          </p:nvPr>
        </p:nvSpPr>
        <p:spPr/>
        <p:txBody>
          <a:bodyPr/>
          <a:lstStyle/>
          <a:p>
            <a:fld id="{AFB227C8-8A57-4CC2-9E58-1AF73479D6F1}" type="slidenum">
              <a:rPr lang="en-US" smtClean="0"/>
              <a:t>17</a:t>
            </a:fld>
            <a:endParaRPr lang="en-US"/>
          </a:p>
        </p:txBody>
      </p:sp>
    </p:spTree>
    <p:extLst>
      <p:ext uri="{BB962C8B-B14F-4D97-AF65-F5344CB8AC3E}">
        <p14:creationId xmlns:p14="http://schemas.microsoft.com/office/powerpoint/2010/main" val="147852979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database schema must be included in the table import along with the username and password.</a:t>
            </a:r>
          </a:p>
        </p:txBody>
      </p:sp>
      <p:sp>
        <p:nvSpPr>
          <p:cNvPr id="4" name="Slide Number Placeholder 3"/>
          <p:cNvSpPr>
            <a:spLocks noGrp="1"/>
          </p:cNvSpPr>
          <p:nvPr>
            <p:ph type="sldNum" sz="quarter" idx="10"/>
          </p:nvPr>
        </p:nvSpPr>
        <p:spPr/>
        <p:txBody>
          <a:bodyPr/>
          <a:lstStyle/>
          <a:p>
            <a:fld id="{AFB227C8-8A57-4CC2-9E58-1AF73479D6F1}" type="slidenum">
              <a:rPr lang="en-US" smtClean="0"/>
              <a:t>18</a:t>
            </a:fld>
            <a:endParaRPr lang="en-US"/>
          </a:p>
        </p:txBody>
      </p:sp>
    </p:spTree>
    <p:extLst>
      <p:ext uri="{BB962C8B-B14F-4D97-AF65-F5344CB8AC3E}">
        <p14:creationId xmlns:p14="http://schemas.microsoft.com/office/powerpoint/2010/main" val="397822809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order to utilize the Bulk Load option, the "</a:t>
            </a:r>
            <a:r>
              <a:rPr lang="en-US" dirty="0" err="1"/>
              <a:t>EnableBulkLoad</a:t>
            </a:r>
            <a:r>
              <a:rPr lang="en-US" dirty="0"/>
              <a:t>" parameter must be set to 1.</a:t>
            </a:r>
          </a:p>
        </p:txBody>
      </p:sp>
      <p:sp>
        <p:nvSpPr>
          <p:cNvPr id="4" name="Slide Number Placeholder 3"/>
          <p:cNvSpPr>
            <a:spLocks noGrp="1"/>
          </p:cNvSpPr>
          <p:nvPr>
            <p:ph type="sldNum" sz="quarter" idx="5"/>
          </p:nvPr>
        </p:nvSpPr>
        <p:spPr/>
        <p:txBody>
          <a:bodyPr/>
          <a:lstStyle/>
          <a:p>
            <a:fld id="{AFB227C8-8A57-4CC2-9E58-1AF73479D6F1}" type="slidenum">
              <a:rPr lang="en-US" smtClean="0"/>
              <a:t>19</a:t>
            </a:fld>
            <a:endParaRPr lang="en-US"/>
          </a:p>
        </p:txBody>
      </p:sp>
    </p:spTree>
    <p:extLst>
      <p:ext uri="{BB962C8B-B14F-4D97-AF65-F5344CB8AC3E}">
        <p14:creationId xmlns:p14="http://schemas.microsoft.com/office/powerpoint/2010/main" val="20128244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B227C8-8A57-4CC2-9E58-1AF73479D6F1}" type="slidenum">
              <a:rPr lang="en-US" smtClean="0"/>
              <a:t>2</a:t>
            </a:fld>
            <a:endParaRPr lang="en-US"/>
          </a:p>
        </p:txBody>
      </p:sp>
    </p:spTree>
    <p:extLst>
      <p:ext uri="{BB962C8B-B14F-4D97-AF65-F5344CB8AC3E}">
        <p14:creationId xmlns:p14="http://schemas.microsoft.com/office/powerpoint/2010/main" val="178339533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nverted all Netezza sources and targets to Azure Synapse Analytics</a:t>
            </a:r>
          </a:p>
        </p:txBody>
      </p:sp>
      <p:sp>
        <p:nvSpPr>
          <p:cNvPr id="4" name="Slide Number Placeholder 3"/>
          <p:cNvSpPr>
            <a:spLocks noGrp="1"/>
          </p:cNvSpPr>
          <p:nvPr>
            <p:ph type="sldNum" sz="quarter" idx="5"/>
          </p:nvPr>
        </p:nvSpPr>
        <p:spPr/>
        <p:txBody>
          <a:bodyPr/>
          <a:lstStyle/>
          <a:p>
            <a:fld id="{AFB227C8-8A57-4CC2-9E58-1AF73479D6F1}" type="slidenum">
              <a:rPr lang="en-US" smtClean="0"/>
              <a:t>20</a:t>
            </a:fld>
            <a:endParaRPr lang="en-US"/>
          </a:p>
        </p:txBody>
      </p:sp>
    </p:spTree>
    <p:extLst>
      <p:ext uri="{BB962C8B-B14F-4D97-AF65-F5344CB8AC3E}">
        <p14:creationId xmlns:p14="http://schemas.microsoft.com/office/powerpoint/2010/main" val="178339533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tilize same method of pulling information.   In this example, data is being pulled by "user defined SQL" statement.</a:t>
            </a:r>
          </a:p>
        </p:txBody>
      </p:sp>
      <p:sp>
        <p:nvSpPr>
          <p:cNvPr id="4" name="Slide Number Placeholder 3"/>
          <p:cNvSpPr>
            <a:spLocks noGrp="1"/>
          </p:cNvSpPr>
          <p:nvPr>
            <p:ph type="sldNum" sz="quarter" idx="5"/>
          </p:nvPr>
        </p:nvSpPr>
        <p:spPr/>
        <p:txBody>
          <a:bodyPr/>
          <a:lstStyle/>
          <a:p>
            <a:fld id="{AFB227C8-8A57-4CC2-9E58-1AF73479D6F1}" type="slidenum">
              <a:rPr lang="en-US" smtClean="0"/>
              <a:t>21</a:t>
            </a:fld>
            <a:endParaRPr lang="en-US"/>
          </a:p>
        </p:txBody>
      </p:sp>
    </p:spTree>
    <p:extLst>
      <p:ext uri="{BB962C8B-B14F-4D97-AF65-F5344CB8AC3E}">
        <p14:creationId xmlns:p14="http://schemas.microsoft.com/office/powerpoint/2010/main" val="121372704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order to update data, the data must first be loaded into a staging table (as designated in the table name) using a "Bulk Insert" statement in the "write mode" column.  The update SQL statement is placed in the After SQL box at the bottom.  This will allow the Bulk Insert statement to load the data to the staging table represented in the Table Name box and then will process the update after all the data has reached the staging table.</a:t>
            </a:r>
          </a:p>
        </p:txBody>
      </p:sp>
      <p:sp>
        <p:nvSpPr>
          <p:cNvPr id="4" name="Slide Number Placeholder 3"/>
          <p:cNvSpPr>
            <a:spLocks noGrp="1"/>
          </p:cNvSpPr>
          <p:nvPr>
            <p:ph type="sldNum" sz="quarter" idx="5"/>
          </p:nvPr>
        </p:nvSpPr>
        <p:spPr/>
        <p:txBody>
          <a:bodyPr/>
          <a:lstStyle/>
          <a:p>
            <a:fld id="{AFB227C8-8A57-4CC2-9E58-1AF73479D6F1}" type="slidenum">
              <a:rPr lang="en-US" smtClean="0"/>
              <a:t>22</a:t>
            </a:fld>
            <a:endParaRPr lang="en-US"/>
          </a:p>
        </p:txBody>
      </p:sp>
    </p:spTree>
    <p:extLst>
      <p:ext uri="{BB962C8B-B14F-4D97-AF65-F5344CB8AC3E}">
        <p14:creationId xmlns:p14="http://schemas.microsoft.com/office/powerpoint/2010/main" val="425304121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tail example of the Update statement.</a:t>
            </a:r>
          </a:p>
        </p:txBody>
      </p:sp>
      <p:sp>
        <p:nvSpPr>
          <p:cNvPr id="4" name="Slide Number Placeholder 3"/>
          <p:cNvSpPr>
            <a:spLocks noGrp="1"/>
          </p:cNvSpPr>
          <p:nvPr>
            <p:ph type="sldNum" sz="quarter" idx="5"/>
          </p:nvPr>
        </p:nvSpPr>
        <p:spPr/>
        <p:txBody>
          <a:bodyPr/>
          <a:lstStyle/>
          <a:p>
            <a:fld id="{AFB227C8-8A57-4CC2-9E58-1AF73479D6F1}" type="slidenum">
              <a:rPr lang="en-US" smtClean="0"/>
              <a:t>23</a:t>
            </a:fld>
            <a:endParaRPr lang="en-US"/>
          </a:p>
        </p:txBody>
      </p:sp>
    </p:spTree>
    <p:extLst>
      <p:ext uri="{BB962C8B-B14F-4D97-AF65-F5344CB8AC3E}">
        <p14:creationId xmlns:p14="http://schemas.microsoft.com/office/powerpoint/2010/main" val="91578974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same process is used for the Insert as the Update.  In this example, a Bulk Insert is utilized to load data into a staging table.  The Truncate table is utilized to assure that all data has been cleared from the staging table prior to the insert.</a:t>
            </a:r>
          </a:p>
        </p:txBody>
      </p:sp>
      <p:sp>
        <p:nvSpPr>
          <p:cNvPr id="4" name="Slide Number Placeholder 3"/>
          <p:cNvSpPr>
            <a:spLocks noGrp="1"/>
          </p:cNvSpPr>
          <p:nvPr>
            <p:ph type="sldNum" sz="quarter" idx="5"/>
          </p:nvPr>
        </p:nvSpPr>
        <p:spPr/>
        <p:txBody>
          <a:bodyPr/>
          <a:lstStyle/>
          <a:p>
            <a:fld id="{AFB227C8-8A57-4CC2-9E58-1AF73479D6F1}" type="slidenum">
              <a:rPr lang="en-US" smtClean="0"/>
              <a:t>24</a:t>
            </a:fld>
            <a:endParaRPr lang="en-US"/>
          </a:p>
        </p:txBody>
      </p:sp>
    </p:spTree>
    <p:extLst>
      <p:ext uri="{BB962C8B-B14F-4D97-AF65-F5344CB8AC3E}">
        <p14:creationId xmlns:p14="http://schemas.microsoft.com/office/powerpoint/2010/main" val="409529830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B227C8-8A57-4CC2-9E58-1AF73479D6F1}" type="slidenum">
              <a:rPr lang="en-US" smtClean="0"/>
              <a:t>25</a:t>
            </a:fld>
            <a:endParaRPr lang="en-US"/>
          </a:p>
        </p:txBody>
      </p:sp>
    </p:spTree>
    <p:extLst>
      <p:ext uri="{BB962C8B-B14F-4D97-AF65-F5344CB8AC3E}">
        <p14:creationId xmlns:p14="http://schemas.microsoft.com/office/powerpoint/2010/main" val="372124326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B227C8-8A57-4CC2-9E58-1AF73479D6F1}" type="slidenum">
              <a:rPr lang="en-US" smtClean="0"/>
              <a:t>26</a:t>
            </a:fld>
            <a:endParaRPr lang="en-US"/>
          </a:p>
        </p:txBody>
      </p:sp>
    </p:spTree>
    <p:extLst>
      <p:ext uri="{BB962C8B-B14F-4D97-AF65-F5344CB8AC3E}">
        <p14:creationId xmlns:p14="http://schemas.microsoft.com/office/powerpoint/2010/main" val="12476301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B227C8-8A57-4CC2-9E58-1AF73479D6F1}" type="slidenum">
              <a:rPr lang="en-US" smtClean="0"/>
              <a:t>27</a:t>
            </a:fld>
            <a:endParaRPr lang="en-US"/>
          </a:p>
        </p:txBody>
      </p:sp>
    </p:spTree>
    <p:extLst>
      <p:ext uri="{BB962C8B-B14F-4D97-AF65-F5344CB8AC3E}">
        <p14:creationId xmlns:p14="http://schemas.microsoft.com/office/powerpoint/2010/main" val="241099581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6612"/>
            <a:r>
              <a:rPr lang="en-US" dirty="0"/>
              <a:t>This is the process by which a Stored Procedure is executed. </a:t>
            </a:r>
          </a:p>
          <a:p>
            <a:endParaRPr lang="en-US" dirty="0"/>
          </a:p>
        </p:txBody>
      </p:sp>
      <p:sp>
        <p:nvSpPr>
          <p:cNvPr id="4" name="Slide Number Placeholder 3"/>
          <p:cNvSpPr>
            <a:spLocks noGrp="1"/>
          </p:cNvSpPr>
          <p:nvPr>
            <p:ph type="sldNum" sz="quarter" idx="5"/>
          </p:nvPr>
        </p:nvSpPr>
        <p:spPr/>
        <p:txBody>
          <a:bodyPr/>
          <a:lstStyle/>
          <a:p>
            <a:fld id="{AFB227C8-8A57-4CC2-9E58-1AF73479D6F1}" type="slidenum">
              <a:rPr lang="en-US" smtClean="0"/>
              <a:t>29</a:t>
            </a:fld>
            <a:endParaRPr lang="en-US"/>
          </a:p>
        </p:txBody>
      </p:sp>
    </p:spTree>
    <p:extLst>
      <p:ext uri="{BB962C8B-B14F-4D97-AF65-F5344CB8AC3E}">
        <p14:creationId xmlns:p14="http://schemas.microsoft.com/office/powerpoint/2010/main" val="241099581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slide shows the Stored Proc is setup for execution on Azure Synapse Analytics.</a:t>
            </a:r>
          </a:p>
        </p:txBody>
      </p:sp>
      <p:sp>
        <p:nvSpPr>
          <p:cNvPr id="4" name="Slide Number Placeholder 3"/>
          <p:cNvSpPr>
            <a:spLocks noGrp="1"/>
          </p:cNvSpPr>
          <p:nvPr>
            <p:ph type="sldNum" sz="quarter" idx="5"/>
          </p:nvPr>
        </p:nvSpPr>
        <p:spPr/>
        <p:txBody>
          <a:bodyPr/>
          <a:lstStyle/>
          <a:p>
            <a:fld id="{AFB227C8-8A57-4CC2-9E58-1AF73479D6F1}" type="slidenum">
              <a:rPr lang="en-US" smtClean="0"/>
              <a:t>30</a:t>
            </a:fld>
            <a:endParaRPr lang="en-US"/>
          </a:p>
        </p:txBody>
      </p:sp>
    </p:spTree>
    <p:extLst>
      <p:ext uri="{BB962C8B-B14F-4D97-AF65-F5344CB8AC3E}">
        <p14:creationId xmlns:p14="http://schemas.microsoft.com/office/powerpoint/2010/main" val="5811598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B227C8-8A57-4CC2-9E58-1AF73479D6F1}" type="slidenum">
              <a:rPr lang="en-US" smtClean="0"/>
              <a:t>3</a:t>
            </a:fld>
            <a:endParaRPr lang="en-US"/>
          </a:p>
        </p:txBody>
      </p:sp>
    </p:spTree>
    <p:extLst>
      <p:ext uri="{BB962C8B-B14F-4D97-AF65-F5344CB8AC3E}">
        <p14:creationId xmlns:p14="http://schemas.microsoft.com/office/powerpoint/2010/main" val="178339533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Procedure Name is the name of the stored proc on Azure Synapse Analytics.  The Procedure Call Syntax shows the execute statement for the stored proc.</a:t>
            </a:r>
          </a:p>
        </p:txBody>
      </p:sp>
      <p:sp>
        <p:nvSpPr>
          <p:cNvPr id="4" name="Slide Number Placeholder 3"/>
          <p:cNvSpPr>
            <a:spLocks noGrp="1"/>
          </p:cNvSpPr>
          <p:nvPr>
            <p:ph type="sldNum" sz="quarter" idx="5"/>
          </p:nvPr>
        </p:nvSpPr>
        <p:spPr/>
        <p:txBody>
          <a:bodyPr/>
          <a:lstStyle/>
          <a:p>
            <a:fld id="{AFB227C8-8A57-4CC2-9E58-1AF73479D6F1}" type="slidenum">
              <a:rPr lang="en-US" smtClean="0"/>
              <a:t>31</a:t>
            </a:fld>
            <a:endParaRPr lang="en-US"/>
          </a:p>
        </p:txBody>
      </p:sp>
    </p:spTree>
    <p:extLst>
      <p:ext uri="{BB962C8B-B14F-4D97-AF65-F5344CB8AC3E}">
        <p14:creationId xmlns:p14="http://schemas.microsoft.com/office/powerpoint/2010/main" val="20423548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properties set up here were defaulted on creation of this process.</a:t>
            </a:r>
          </a:p>
        </p:txBody>
      </p:sp>
      <p:sp>
        <p:nvSpPr>
          <p:cNvPr id="4" name="Slide Number Placeholder 3"/>
          <p:cNvSpPr>
            <a:spLocks noGrp="1"/>
          </p:cNvSpPr>
          <p:nvPr>
            <p:ph type="sldNum" sz="quarter" idx="5"/>
          </p:nvPr>
        </p:nvSpPr>
        <p:spPr/>
        <p:txBody>
          <a:bodyPr/>
          <a:lstStyle/>
          <a:p>
            <a:fld id="{AFB227C8-8A57-4CC2-9E58-1AF73479D6F1}" type="slidenum">
              <a:rPr lang="en-US" smtClean="0"/>
              <a:t>32</a:t>
            </a:fld>
            <a:endParaRPr lang="en-US"/>
          </a:p>
        </p:txBody>
      </p:sp>
    </p:spTree>
    <p:extLst>
      <p:ext uri="{BB962C8B-B14F-4D97-AF65-F5344CB8AC3E}">
        <p14:creationId xmlns:p14="http://schemas.microsoft.com/office/powerpoint/2010/main" val="172663477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B227C8-8A57-4CC2-9E58-1AF73479D6F1}" type="slidenum">
              <a:rPr lang="en-US" smtClean="0"/>
              <a:t>33</a:t>
            </a:fld>
            <a:endParaRPr lang="en-US"/>
          </a:p>
        </p:txBody>
      </p:sp>
    </p:spTree>
    <p:extLst>
      <p:ext uri="{BB962C8B-B14F-4D97-AF65-F5344CB8AC3E}">
        <p14:creationId xmlns:p14="http://schemas.microsoft.com/office/powerpoint/2010/main" val="143187293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B227C8-8A57-4CC2-9E58-1AF73479D6F1}" type="slidenum">
              <a:rPr lang="en-US" smtClean="0"/>
              <a:t>35</a:t>
            </a:fld>
            <a:endParaRPr lang="en-US"/>
          </a:p>
        </p:txBody>
      </p:sp>
    </p:spTree>
    <p:extLst>
      <p:ext uri="{BB962C8B-B14F-4D97-AF65-F5344CB8AC3E}">
        <p14:creationId xmlns:p14="http://schemas.microsoft.com/office/powerpoint/2010/main" val="425102970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B227C8-8A57-4CC2-9E58-1AF73479D6F1}" type="slidenum">
              <a:rPr lang="en-US" smtClean="0"/>
              <a:t>36</a:t>
            </a:fld>
            <a:endParaRPr lang="en-US"/>
          </a:p>
        </p:txBody>
      </p:sp>
    </p:spTree>
    <p:extLst>
      <p:ext uri="{BB962C8B-B14F-4D97-AF65-F5344CB8AC3E}">
        <p14:creationId xmlns:p14="http://schemas.microsoft.com/office/powerpoint/2010/main" val="241099581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B227C8-8A57-4CC2-9E58-1AF73479D6F1}" type="slidenum">
              <a:rPr lang="en-US" smtClean="0"/>
              <a:t>37</a:t>
            </a:fld>
            <a:endParaRPr lang="en-US"/>
          </a:p>
        </p:txBody>
      </p:sp>
    </p:spTree>
    <p:extLst>
      <p:ext uri="{BB962C8B-B14F-4D97-AF65-F5344CB8AC3E}">
        <p14:creationId xmlns:p14="http://schemas.microsoft.com/office/powerpoint/2010/main" val="241099581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B227C8-8A57-4CC2-9E58-1AF73479D6F1}" type="slidenum">
              <a:rPr lang="en-US" smtClean="0"/>
              <a:t>38</a:t>
            </a:fld>
            <a:endParaRPr lang="en-US"/>
          </a:p>
        </p:txBody>
      </p:sp>
    </p:spTree>
    <p:extLst>
      <p:ext uri="{BB962C8B-B14F-4D97-AF65-F5344CB8AC3E}">
        <p14:creationId xmlns:p14="http://schemas.microsoft.com/office/powerpoint/2010/main" val="241099581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B227C8-8A57-4CC2-9E58-1AF73479D6F1}" type="slidenum">
              <a:rPr lang="en-US" smtClean="0"/>
              <a:t>39</a:t>
            </a:fld>
            <a:endParaRPr lang="en-US"/>
          </a:p>
        </p:txBody>
      </p:sp>
    </p:spTree>
    <p:extLst>
      <p:ext uri="{BB962C8B-B14F-4D97-AF65-F5344CB8AC3E}">
        <p14:creationId xmlns:p14="http://schemas.microsoft.com/office/powerpoint/2010/main" val="3044483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B227C8-8A57-4CC2-9E58-1AF73479D6F1}" type="slidenum">
              <a:rPr lang="en-US" smtClean="0"/>
              <a:t>4</a:t>
            </a:fld>
            <a:endParaRPr lang="en-US"/>
          </a:p>
        </p:txBody>
      </p:sp>
    </p:spTree>
    <p:extLst>
      <p:ext uri="{BB962C8B-B14F-4D97-AF65-F5344CB8AC3E}">
        <p14:creationId xmlns:p14="http://schemas.microsoft.com/office/powerpoint/2010/main" val="17833953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B227C8-8A57-4CC2-9E58-1AF73479D6F1}" type="slidenum">
              <a:rPr lang="en-US" smtClean="0"/>
              <a:t>5</a:t>
            </a:fld>
            <a:endParaRPr lang="en-US"/>
          </a:p>
        </p:txBody>
      </p:sp>
    </p:spTree>
    <p:extLst>
      <p:ext uri="{BB962C8B-B14F-4D97-AF65-F5344CB8AC3E}">
        <p14:creationId xmlns:p14="http://schemas.microsoft.com/office/powerpoint/2010/main" val="17833953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foSphere DataStage is initiated from an icon on the desktop designated as "Designer"</a:t>
            </a:r>
          </a:p>
        </p:txBody>
      </p:sp>
      <p:sp>
        <p:nvSpPr>
          <p:cNvPr id="4" name="Slide Number Placeholder 3"/>
          <p:cNvSpPr>
            <a:spLocks noGrp="1"/>
          </p:cNvSpPr>
          <p:nvPr>
            <p:ph type="sldNum" sz="quarter" idx="10"/>
          </p:nvPr>
        </p:nvSpPr>
        <p:spPr/>
        <p:txBody>
          <a:bodyPr/>
          <a:lstStyle/>
          <a:p>
            <a:fld id="{AFB227C8-8A57-4CC2-9E58-1AF73479D6F1}" type="slidenum">
              <a:rPr lang="en-US" smtClean="0"/>
              <a:t>6</a:t>
            </a:fld>
            <a:endParaRPr lang="en-US"/>
          </a:p>
        </p:txBody>
      </p:sp>
    </p:spTree>
    <p:extLst>
      <p:ext uri="{BB962C8B-B14F-4D97-AF65-F5344CB8AC3E}">
        <p14:creationId xmlns:p14="http://schemas.microsoft.com/office/powerpoint/2010/main" val="422963037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B227C8-8A57-4CC2-9E58-1AF73479D6F1}" type="slidenum">
              <a:rPr lang="en-US" smtClean="0"/>
              <a:t>7</a:t>
            </a:fld>
            <a:endParaRPr lang="en-US"/>
          </a:p>
        </p:txBody>
      </p:sp>
    </p:spTree>
    <p:extLst>
      <p:ext uri="{BB962C8B-B14F-4D97-AF65-F5344CB8AC3E}">
        <p14:creationId xmlns:p14="http://schemas.microsoft.com/office/powerpoint/2010/main" val="17833953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lick in the tree list for your final selection.  The jobs that are designated in green are "sequence" jobs.  These are job agents to select one or multiple jobs to run within the selection.</a:t>
            </a:r>
          </a:p>
        </p:txBody>
      </p:sp>
      <p:sp>
        <p:nvSpPr>
          <p:cNvPr id="4" name="Slide Number Placeholder 3"/>
          <p:cNvSpPr>
            <a:spLocks noGrp="1"/>
          </p:cNvSpPr>
          <p:nvPr>
            <p:ph type="sldNum" sz="quarter" idx="10"/>
          </p:nvPr>
        </p:nvSpPr>
        <p:spPr/>
        <p:txBody>
          <a:bodyPr/>
          <a:lstStyle/>
          <a:p>
            <a:fld id="{AFB227C8-8A57-4CC2-9E58-1AF73479D6F1}" type="slidenum">
              <a:rPr lang="en-US" smtClean="0"/>
              <a:t>8</a:t>
            </a:fld>
            <a:endParaRPr lang="en-US"/>
          </a:p>
        </p:txBody>
      </p:sp>
    </p:spTree>
    <p:extLst>
      <p:ext uri="{BB962C8B-B14F-4D97-AF65-F5344CB8AC3E}">
        <p14:creationId xmlns:p14="http://schemas.microsoft.com/office/powerpoint/2010/main" val="13658283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B227C8-8A57-4CC2-9E58-1AF73479D6F1}" type="slidenum">
              <a:rPr lang="en-US" smtClean="0"/>
              <a:t>9</a:t>
            </a:fld>
            <a:endParaRPr lang="en-US"/>
          </a:p>
        </p:txBody>
      </p:sp>
    </p:spTree>
    <p:extLst>
      <p:ext uri="{BB962C8B-B14F-4D97-AF65-F5344CB8AC3E}">
        <p14:creationId xmlns:p14="http://schemas.microsoft.com/office/powerpoint/2010/main" val="393445381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s>
</file>

<file path=ppt/slideLayouts/slideLayout1.xml><?xml version="1.0" encoding="utf-8"?>
<p:sldLayout xmlns:a="http://schemas.openxmlformats.org/drawingml/2006/main" xmlns:r="http://schemas.openxmlformats.org/officeDocument/2006/relationships" xmlns:p="http://schemas.openxmlformats.org/presentationml/2006/main">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4800">
                <a:solidFill>
                  <a:schemeClr val="tx2"/>
                </a:solidFill>
              </a:defRPr>
            </a:lvl1pPr>
          </a:lstStyle>
          <a:p>
            <a:r>
              <a:rPr lang="en-US" dirty="0"/>
              <a:t>Click to edit Master title style</a:t>
            </a:r>
          </a:p>
        </p:txBody>
      </p:sp>
      <p:sp>
        <p:nvSpPr>
          <p:cNvPr id="6" name="Slide Number Placeholder 4"/>
          <p:cNvSpPr>
            <a:spLocks noGrp="1"/>
          </p:cNvSpPr>
          <p:nvPr>
            <p:ph type="sldNum" sz="quarter" idx="4"/>
          </p:nvPr>
        </p:nvSpPr>
        <p:spPr>
          <a:xfrm>
            <a:off x="11367165" y="6629335"/>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dirty="0"/>
          </a:p>
        </p:txBody>
      </p:sp>
      <p:sp>
        <p:nvSpPr>
          <p:cNvPr id="2" name="TextBox 7">
            <a:extLst>
              <a:ext uri="{FF2B5EF4-FFF2-40B4-BE49-F238E27FC236}">
                <a16:creationId xmlns:a16="http://schemas.microsoft.com/office/drawing/2014/main" id="{63171006-FD74-4EBC-B587-C37EE88E8293}"/>
              </a:ext>
            </a:extLst>
          </p:cNvPr>
          <p:cNvSpPr txBox="1"/>
          <p:nvPr userDrawn="1"/>
        </p:nvSpPr>
        <p:spPr>
          <a:xfrm>
            <a:off x="9372600" y="6415986"/>
            <a:ext cx="2819400"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dirty="0">
                <a:latin typeface="Calibri" panose="020F0502020204030204" pitchFamily="34" charset="0"/>
                <a:cs typeface="Calibri" panose="020F0502020204030204" pitchFamily="34" charset="0"/>
              </a:rPr>
              <a:t>Data Migration Jumpstart Engineering</a:t>
            </a:r>
          </a:p>
        </p:txBody>
      </p:sp>
    </p:spTree>
    <p:extLst>
      <p:ext uri="{BB962C8B-B14F-4D97-AF65-F5344CB8AC3E}">
        <p14:creationId xmlns:p14="http://schemas.microsoft.com/office/powerpoint/2010/main" val="1927059584"/>
      </p:ext>
    </p:extLst>
  </p:cSld>
  <p:clrMapOvr>
    <a:masterClrMapping/>
  </p:clrMapOvr>
  <p:transition spd="med">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cSld name="1_Blank">
    <p:bg>
      <p:bgPr>
        <a:solidFill>
          <a:srgbClr val="00205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4" name="Picture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69238" y="6476787"/>
            <a:ext cx="898127" cy="196093"/>
          </a:xfrm>
          <a:prstGeom prst="rect">
            <a:avLst/>
          </a:prstGeom>
        </p:spPr>
      </p:pic>
    </p:spTree>
    <p:extLst>
      <p:ext uri="{BB962C8B-B14F-4D97-AF65-F5344CB8AC3E}">
        <p14:creationId xmlns:p14="http://schemas.microsoft.com/office/powerpoint/2010/main" val="3121927191"/>
      </p:ext>
    </p:extLst>
  </p:cSld>
  <p:clrMapOvr>
    <a:overrideClrMapping bg1="lt1" tx1="dk1" bg2="lt2" tx2="dk2" accent1="accent1" accent2="accent2" accent3="accent3" accent4="accent4" accent5="accent5" accent6="accent6" hlink="hlink" folHlink="folHlink"/>
  </p:clrMapOvr>
  <p:transition spd="med">
    <p:fade/>
  </p:transition>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71E3F13-2DB3-405F-9293-2FD3D3D8001C}" type="datetimeFigureOut">
              <a:rPr lang="en-US" smtClean="0"/>
              <a:t>4/6/2020</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D872D6E-37D3-423E-AC76-EBCD21EAF5AF}" type="slidenum">
              <a:rPr lang="en-US" smtClean="0"/>
              <a:t>‹#›</a:t>
            </a:fld>
            <a:endParaRPr lang="en-US" dirty="0"/>
          </a:p>
        </p:txBody>
      </p:sp>
    </p:spTree>
    <p:extLst>
      <p:ext uri="{BB962C8B-B14F-4D97-AF65-F5344CB8AC3E}">
        <p14:creationId xmlns:p14="http://schemas.microsoft.com/office/powerpoint/2010/main" val="708753993"/>
      </p:ext>
    </p:extLst>
  </p:cSld>
  <p:clrMap bg1="lt1" tx1="dk1" bg2="lt2" tx2="dk2" accent1="accent1" accent2="accent2" accent3="accent3" accent4="accent4" accent5="accent5" accent6="accent6" hlink="hlink" folHlink="folHlink"/>
  <p:sldLayoutIdLst>
    <p:sldLayoutId id="2147483661" r:id="rId1"/>
    <p:sldLayoutId id="2147483674"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2.xml"/><Relationship Id="rId7" Type="http://schemas.openxmlformats.org/officeDocument/2006/relationships/image" Target="../media/image3.emf"/><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1.xml"/><Relationship Id="rId9" Type="http://schemas.openxmlformats.org/officeDocument/2006/relationships/image" Target="../media/image5.emf"/></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hyperlink" Target="https://www.ibm.com/support/knowledgecenter/SSZJPZ_11.5.0/com.ibm.swg.im.iis.conn.drs.usage.doc/topics/c_drs_connector_overview.html?view=kc" TargetMode="External"/><Relationship Id="rId2" Type="http://schemas.openxmlformats.org/officeDocument/2006/relationships/notesSlide" Target="../notesSlides/notesSlide13.xml"/><Relationship Id="rId1" Type="http://schemas.openxmlformats.org/officeDocument/2006/relationships/slideLayout" Target="../slideLayouts/slideLayout1.xml"/><Relationship Id="rId6" Type="http://schemas.openxmlformats.org/officeDocument/2006/relationships/hyperlink" Target="https://www.ibm.com/support/knowledgecenter/SSZJPZ_11.5.0/com.ibm.swg.im.iis.conn.drs.doc/topics/DRS020b.html?view=kc" TargetMode="External"/><Relationship Id="rId5" Type="http://schemas.openxmlformats.org/officeDocument/2006/relationships/hyperlink" Target="https://www.ibm.com/support/knowledgecenter/SSZJPZ_11.5.0/com.ibm.swg.im.iis.conn.drs.usage.doc/topics/c_drs_connector_settings.html?view=kc" TargetMode="External"/><Relationship Id="rId4" Type="http://schemas.openxmlformats.org/officeDocument/2006/relationships/hyperlink" Target="https://www.ibm.com/support/knowledgecenter/SSZJPZ_11.5.0/com.ibm.swg.im.iis.conn.drs.usage.doc/topics/c_drs_configuration.html?view=kc"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hyperlink" Target="mailto:askdmjfordmtools@microsoft.com" TargetMode="External"/><Relationship Id="rId2" Type="http://schemas.openxmlformats.org/officeDocument/2006/relationships/notesSlide" Target="../notesSlides/notesSlide2.xml"/><Relationship Id="rId1" Type="http://schemas.openxmlformats.org/officeDocument/2006/relationships/slideLayout" Target="../slideLayouts/slideLayout1.xml"/><Relationship Id="rId4" Type="http://schemas.openxmlformats.org/officeDocument/2006/relationships/hyperlink" Target="mailto:dmjarchitects@microsoft.com"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4.xml"/><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6.xm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8.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9.xml"/><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0.xml"/><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1.xml"/><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2.xml"/><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3.xml"/><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notesSlide" Target="../notesSlides/notesSlide34.xml"/><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3" Type="http://schemas.openxmlformats.org/officeDocument/2006/relationships/hyperlink" Target="https://developer.ibm.com/recipes/tutorials/ibm-infosphere-datastage-azure-storage-connector-to-write-data-to-azure-storage/" TargetMode="External"/><Relationship Id="rId2" Type="http://schemas.openxmlformats.org/officeDocument/2006/relationships/notesSlide" Target="../notesSlides/notesSlide35.xml"/><Relationship Id="rId1" Type="http://schemas.openxmlformats.org/officeDocument/2006/relationships/slideLayout" Target="../slideLayouts/slideLayout1.xml"/><Relationship Id="rId4" Type="http://schemas.openxmlformats.org/officeDocument/2006/relationships/image" Target="../media/image30.png"/></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3" Type="http://schemas.openxmlformats.org/officeDocument/2006/relationships/hyperlink" Target="https://docs.microsoft.com/en-us/sql/t-sql/statements/copy-into-transact-sql?view=azure-sqldw-latest" TargetMode="External"/><Relationship Id="rId2" Type="http://schemas.openxmlformats.org/officeDocument/2006/relationships/notesSlide" Target="../notesSlides/notesSlide37.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8" Type="http://schemas.openxmlformats.org/officeDocument/2006/relationships/slide" Target="slide36.xml"/><Relationship Id="rId3" Type="http://schemas.openxmlformats.org/officeDocument/2006/relationships/slide" Target="slide5.xml"/><Relationship Id="rId7" Type="http://schemas.openxmlformats.org/officeDocument/2006/relationships/slide" Target="slide30.xml"/><Relationship Id="rId2" Type="http://schemas.openxmlformats.org/officeDocument/2006/relationships/notesSlide" Target="../notesSlides/notesSlide4.xml"/><Relationship Id="rId1" Type="http://schemas.openxmlformats.org/officeDocument/2006/relationships/slideLayout" Target="../slideLayouts/slideLayout1.xml"/><Relationship Id="rId6" Type="http://schemas.openxmlformats.org/officeDocument/2006/relationships/slide" Target="slide25.xml"/><Relationship Id="rId5" Type="http://schemas.openxmlformats.org/officeDocument/2006/relationships/slide" Target="slide14.xml"/><Relationship Id="rId4" Type="http://schemas.openxmlformats.org/officeDocument/2006/relationships/slide" Target="slide12.xml"/><Relationship Id="rId9" Type="http://schemas.openxmlformats.org/officeDocument/2006/relationships/slide" Target="slide3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307373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5" imgW="377" imgH="377" progId="TCLayout.ActiveDocument.1">
                  <p:embed/>
                </p:oleObj>
              </mc:Choice>
              <mc:Fallback>
                <p:oleObj name="think-cell Slide" r:id="rId5" imgW="377" imgH="377" progId="TCLayout.ActiveDocument.1">
                  <p:embed/>
                  <p:pic>
                    <p:nvPicPr>
                      <p:cNvPr id="2" name="Object 1" hidden="1">
                        <a:extLst>
                          <a:ext uri="{C183D7F6-B498-43B3-948B-1728B52AA6E4}">
                            <adec:decorative xmlns:adec="http://schemas.microsoft.com/office/drawing/2017/decorative" val="1"/>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idx="4294967295"/>
          </p:nvPr>
        </p:nvSpPr>
        <p:spPr>
          <a:xfrm>
            <a:off x="383866" y="2520404"/>
            <a:ext cx="8257949" cy="1572267"/>
          </a:xfrm>
        </p:spPr>
        <p:txBody>
          <a:bodyPr>
            <a:noAutofit/>
          </a:bodyPr>
          <a:lstStyle/>
          <a:p>
            <a:r>
              <a:rPr lang="en-IN" sz="6000" b="1" dirty="0">
                <a:solidFill>
                  <a:schemeClr val="bg1"/>
                </a:solidFill>
              </a:rPr>
              <a:t>DataStage</a:t>
            </a:r>
            <a:br>
              <a:rPr lang="en-IN" sz="6000" b="1" dirty="0">
                <a:solidFill>
                  <a:schemeClr val="bg1"/>
                </a:solidFill>
              </a:rPr>
            </a:br>
            <a:r>
              <a:rPr lang="en-IN" sz="6000" b="1" dirty="0">
                <a:solidFill>
                  <a:schemeClr val="bg1"/>
                </a:solidFill>
              </a:rPr>
              <a:t>Configuration Steps</a:t>
            </a:r>
            <a:endParaRPr lang="en-US" sz="6000" b="1" dirty="0">
              <a:solidFill>
                <a:schemeClr val="bg1"/>
              </a:solidFill>
            </a:endParaRPr>
          </a:p>
        </p:txBody>
      </p:sp>
      <p:grpSp>
        <p:nvGrpSpPr>
          <p:cNvPr id="53" name="Group 52">
            <a:extLst>
              <a:ext uri="{C183D7F6-B498-43B3-948B-1728B52AA6E4}">
                <adec:decorative xmlns:adec="http://schemas.microsoft.com/office/drawing/2017/decorative" val="1"/>
              </a:ext>
            </a:extLst>
          </p:cNvPr>
          <p:cNvGrpSpPr/>
          <p:nvPr/>
        </p:nvGrpSpPr>
        <p:grpSpPr>
          <a:xfrm>
            <a:off x="7305686" y="738598"/>
            <a:ext cx="4716174" cy="1862603"/>
            <a:chOff x="7305686" y="738598"/>
            <a:chExt cx="4716174" cy="1862603"/>
          </a:xfrm>
        </p:grpSpPr>
        <p:pic>
          <p:nvPicPr>
            <p:cNvPr id="513" name="Picture 512"/>
            <p:cNvPicPr>
              <a:picLocks noChangeAspect="1"/>
            </p:cNvPicPr>
            <p:nvPr/>
          </p:nvPicPr>
          <p:blipFill>
            <a:blip r:embed="rId7"/>
            <a:stretch>
              <a:fillRect/>
            </a:stretch>
          </p:blipFill>
          <p:spPr>
            <a:xfrm rot="4867791" flipH="1">
              <a:off x="8609467" y="1804838"/>
              <a:ext cx="615563" cy="785372"/>
            </a:xfrm>
            <a:prstGeom prst="rect">
              <a:avLst/>
            </a:prstGeom>
          </p:spPr>
        </p:pic>
        <p:sp>
          <p:nvSpPr>
            <p:cNvPr id="46" name="Freeform 37"/>
            <p:cNvSpPr>
              <a:spLocks noEditPoints="1"/>
            </p:cNvSpPr>
            <p:nvPr/>
          </p:nvSpPr>
          <p:spPr bwMode="auto">
            <a:xfrm>
              <a:off x="9368832" y="875428"/>
              <a:ext cx="542697" cy="54166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703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 name="Freeform 38"/>
            <p:cNvSpPr>
              <a:spLocks noEditPoints="1"/>
            </p:cNvSpPr>
            <p:nvPr/>
          </p:nvSpPr>
          <p:spPr bwMode="auto">
            <a:xfrm>
              <a:off x="8512612" y="1052180"/>
              <a:ext cx="740891" cy="742966"/>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39"/>
            <p:cNvSpPr>
              <a:spLocks noEditPoints="1"/>
            </p:cNvSpPr>
            <p:nvPr/>
          </p:nvSpPr>
          <p:spPr bwMode="auto">
            <a:xfrm>
              <a:off x="9580870" y="1423663"/>
              <a:ext cx="1082281" cy="1085394"/>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 name="Freeform 40"/>
            <p:cNvSpPr>
              <a:spLocks/>
            </p:cNvSpPr>
            <p:nvPr/>
          </p:nvSpPr>
          <p:spPr bwMode="auto">
            <a:xfrm>
              <a:off x="7305686" y="1038482"/>
              <a:ext cx="1475556" cy="1562719"/>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41"/>
            <p:cNvSpPr>
              <a:spLocks/>
            </p:cNvSpPr>
            <p:nvPr/>
          </p:nvSpPr>
          <p:spPr bwMode="auto">
            <a:xfrm>
              <a:off x="10210102" y="738598"/>
              <a:ext cx="1811758" cy="1862603"/>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3" name="Group 2">
            <a:extLst>
              <a:ext uri="{C183D7F6-B498-43B3-948B-1728B52AA6E4}">
                <adec:decorative xmlns:adec="http://schemas.microsoft.com/office/drawing/2017/decorative" val="1"/>
              </a:ext>
            </a:extLst>
          </p:cNvPr>
          <p:cNvGrpSpPr/>
          <p:nvPr/>
        </p:nvGrpSpPr>
        <p:grpSpPr>
          <a:xfrm>
            <a:off x="8157600" y="2820553"/>
            <a:ext cx="3010822" cy="4037447"/>
            <a:chOff x="8157600" y="2820553"/>
            <a:chExt cx="3010822" cy="4037447"/>
          </a:xfrm>
        </p:grpSpPr>
        <p:grpSp>
          <p:nvGrpSpPr>
            <p:cNvPr id="35" name="Group 34"/>
            <p:cNvGrpSpPr/>
            <p:nvPr/>
          </p:nvGrpSpPr>
          <p:grpSpPr>
            <a:xfrm>
              <a:off x="8159124" y="2820553"/>
              <a:ext cx="3009298" cy="4037447"/>
              <a:chOff x="7135469" y="1887273"/>
              <a:chExt cx="3009298" cy="4037447"/>
            </a:xfrm>
          </p:grpSpPr>
          <p:sp>
            <p:nvSpPr>
              <p:cNvPr id="523" name="Freeform 98"/>
              <p:cNvSpPr>
                <a:spLocks noEditPoints="1"/>
              </p:cNvSpPr>
              <p:nvPr/>
            </p:nvSpPr>
            <p:spPr bwMode="auto">
              <a:xfrm>
                <a:off x="9868676" y="5423015"/>
                <a:ext cx="153987" cy="233363"/>
              </a:xfrm>
              <a:custGeom>
                <a:avLst/>
                <a:gdLst>
                  <a:gd name="T0" fmla="*/ 34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4 w 69"/>
                  <a:gd name="T15" fmla="*/ 105 h 105"/>
                  <a:gd name="T16" fmla="*/ 35 w 69"/>
                  <a:gd name="T17" fmla="*/ 14 h 105"/>
                  <a:gd name="T18" fmla="*/ 17 w 69"/>
                  <a:gd name="T19" fmla="*/ 54 h 105"/>
                  <a:gd name="T20" fmla="*/ 35 w 69"/>
                  <a:gd name="T21" fmla="*/ 92 h 105"/>
                  <a:gd name="T22" fmla="*/ 53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4"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4" y="105"/>
                    </a:cubicBezTo>
                    <a:close/>
                    <a:moveTo>
                      <a:pt x="35" y="14"/>
                    </a:moveTo>
                    <a:cubicBezTo>
                      <a:pt x="23" y="14"/>
                      <a:pt x="17" y="27"/>
                      <a:pt x="17" y="54"/>
                    </a:cubicBezTo>
                    <a:cubicBezTo>
                      <a:pt x="17" y="79"/>
                      <a:pt x="23" y="92"/>
                      <a:pt x="35" y="92"/>
                    </a:cubicBezTo>
                    <a:cubicBezTo>
                      <a:pt x="47" y="92"/>
                      <a:pt x="53" y="79"/>
                      <a:pt x="53" y="53"/>
                    </a:cubicBezTo>
                    <a:cubicBezTo>
                      <a:pt x="53"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1" name="Freeform 72"/>
              <p:cNvSpPr>
                <a:spLocks/>
              </p:cNvSpPr>
              <p:nvPr/>
            </p:nvSpPr>
            <p:spPr bwMode="auto">
              <a:xfrm>
                <a:off x="7137056" y="5699295"/>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2" name="Freeform 73"/>
              <p:cNvSpPr>
                <a:spLocks/>
              </p:cNvSpPr>
              <p:nvPr/>
            </p:nvSpPr>
            <p:spPr bwMode="auto">
              <a:xfrm>
                <a:off x="7137056" y="5426245"/>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3" name="Freeform 74"/>
              <p:cNvSpPr>
                <a:spLocks/>
              </p:cNvSpPr>
              <p:nvPr/>
            </p:nvSpPr>
            <p:spPr bwMode="auto">
              <a:xfrm>
                <a:off x="7137056" y="5145257"/>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5" name="Freeform 76"/>
              <p:cNvSpPr>
                <a:spLocks noEditPoints="1"/>
              </p:cNvSpPr>
              <p:nvPr/>
            </p:nvSpPr>
            <p:spPr bwMode="auto">
              <a:xfrm>
                <a:off x="7251356" y="5694532"/>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6" name="Freeform 77"/>
              <p:cNvSpPr>
                <a:spLocks noEditPoints="1"/>
              </p:cNvSpPr>
              <p:nvPr/>
            </p:nvSpPr>
            <p:spPr bwMode="auto">
              <a:xfrm>
                <a:off x="7254531" y="5416720"/>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7" name="Freeform 78"/>
              <p:cNvSpPr>
                <a:spLocks/>
              </p:cNvSpPr>
              <p:nvPr/>
            </p:nvSpPr>
            <p:spPr bwMode="auto">
              <a:xfrm>
                <a:off x="7433918" y="5699295"/>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8" name="Freeform 79"/>
              <p:cNvSpPr>
                <a:spLocks/>
              </p:cNvSpPr>
              <p:nvPr/>
            </p:nvSpPr>
            <p:spPr bwMode="auto">
              <a:xfrm>
                <a:off x="7433918" y="5426245"/>
                <a:ext cx="82550"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0" name="Freeform 81"/>
              <p:cNvSpPr>
                <a:spLocks noEditPoints="1"/>
              </p:cNvSpPr>
              <p:nvPr/>
            </p:nvSpPr>
            <p:spPr bwMode="auto">
              <a:xfrm>
                <a:off x="7549806" y="5694532"/>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3" y="104"/>
                    </a:cubicBezTo>
                    <a:close/>
                    <a:moveTo>
                      <a:pt x="35" y="13"/>
                    </a:moveTo>
                    <a:cubicBezTo>
                      <a:pt x="23" y="13"/>
                      <a:pt x="17" y="27"/>
                      <a:pt x="17" y="54"/>
                    </a:cubicBezTo>
                    <a:cubicBezTo>
                      <a:pt x="17" y="79"/>
                      <a:pt x="23" y="91"/>
                      <a:pt x="35" y="91"/>
                    </a:cubicBezTo>
                    <a:cubicBezTo>
                      <a:pt x="47"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1" name="Freeform 82"/>
              <p:cNvSpPr>
                <a:spLocks noEditPoints="1"/>
              </p:cNvSpPr>
              <p:nvPr/>
            </p:nvSpPr>
            <p:spPr bwMode="auto">
              <a:xfrm>
                <a:off x="7551393" y="5416720"/>
                <a:ext cx="153987"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3" name="Freeform 84"/>
              <p:cNvSpPr>
                <a:spLocks/>
              </p:cNvSpPr>
              <p:nvPr/>
            </p:nvSpPr>
            <p:spPr bwMode="auto">
              <a:xfrm>
                <a:off x="7135469" y="4859507"/>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7" name="Freeform 88"/>
              <p:cNvSpPr>
                <a:spLocks/>
              </p:cNvSpPr>
              <p:nvPr/>
            </p:nvSpPr>
            <p:spPr bwMode="auto">
              <a:xfrm>
                <a:off x="7744009" y="5699295"/>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8" name="Freeform 89"/>
              <p:cNvSpPr>
                <a:spLocks/>
              </p:cNvSpPr>
              <p:nvPr/>
            </p:nvSpPr>
            <p:spPr bwMode="auto">
              <a:xfrm>
                <a:off x="7744009" y="5426245"/>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0" name="Freeform 91"/>
              <p:cNvSpPr>
                <a:spLocks/>
              </p:cNvSpPr>
              <p:nvPr/>
            </p:nvSpPr>
            <p:spPr bwMode="auto">
              <a:xfrm>
                <a:off x="7896409" y="5145257"/>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1" name="Freeform 92"/>
              <p:cNvSpPr>
                <a:spLocks noEditPoints="1"/>
              </p:cNvSpPr>
              <p:nvPr/>
            </p:nvSpPr>
            <p:spPr bwMode="auto">
              <a:xfrm>
                <a:off x="7859897" y="5694532"/>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2" name="Freeform 93"/>
              <p:cNvSpPr>
                <a:spLocks noEditPoints="1"/>
              </p:cNvSpPr>
              <p:nvPr/>
            </p:nvSpPr>
            <p:spPr bwMode="auto">
              <a:xfrm>
                <a:off x="7863072" y="5416720"/>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3" y="105"/>
                    </a:cubicBezTo>
                    <a:close/>
                    <a:moveTo>
                      <a:pt x="35" y="14"/>
                    </a:moveTo>
                    <a:cubicBezTo>
                      <a:pt x="23" y="14"/>
                      <a:pt x="17" y="27"/>
                      <a:pt x="17" y="54"/>
                    </a:cubicBezTo>
                    <a:cubicBezTo>
                      <a:pt x="17" y="79"/>
                      <a:pt x="23" y="92"/>
                      <a:pt x="35" y="92"/>
                    </a:cubicBezTo>
                    <a:cubicBezTo>
                      <a:pt x="47" y="92"/>
                      <a:pt x="52" y="79"/>
                      <a:pt x="52" y="53"/>
                    </a:cubicBezTo>
                    <a:cubicBezTo>
                      <a:pt x="52"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3" name="Freeform 94"/>
              <p:cNvSpPr>
                <a:spLocks/>
              </p:cNvSpPr>
              <p:nvPr/>
            </p:nvSpPr>
            <p:spPr bwMode="auto">
              <a:xfrm>
                <a:off x="8042459" y="5699295"/>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4" name="Freeform 95"/>
              <p:cNvSpPr>
                <a:spLocks/>
              </p:cNvSpPr>
              <p:nvPr/>
            </p:nvSpPr>
            <p:spPr bwMode="auto">
              <a:xfrm>
                <a:off x="8042459" y="5426245"/>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5" name="Freeform 96"/>
              <p:cNvSpPr>
                <a:spLocks/>
              </p:cNvSpPr>
              <p:nvPr/>
            </p:nvSpPr>
            <p:spPr bwMode="auto">
              <a:xfrm>
                <a:off x="8042459" y="5145257"/>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6" name="Freeform 97"/>
              <p:cNvSpPr>
                <a:spLocks noEditPoints="1"/>
              </p:cNvSpPr>
              <p:nvPr/>
            </p:nvSpPr>
            <p:spPr bwMode="auto">
              <a:xfrm>
                <a:off x="8158347" y="5694532"/>
                <a:ext cx="152400"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6"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7" name="Freeform 98"/>
              <p:cNvSpPr>
                <a:spLocks noEditPoints="1"/>
              </p:cNvSpPr>
              <p:nvPr/>
            </p:nvSpPr>
            <p:spPr bwMode="auto">
              <a:xfrm>
                <a:off x="8159934" y="5416720"/>
                <a:ext cx="153987" cy="233363"/>
              </a:xfrm>
              <a:custGeom>
                <a:avLst/>
                <a:gdLst>
                  <a:gd name="T0" fmla="*/ 34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4 w 69"/>
                  <a:gd name="T15" fmla="*/ 105 h 105"/>
                  <a:gd name="T16" fmla="*/ 35 w 69"/>
                  <a:gd name="T17" fmla="*/ 14 h 105"/>
                  <a:gd name="T18" fmla="*/ 17 w 69"/>
                  <a:gd name="T19" fmla="*/ 54 h 105"/>
                  <a:gd name="T20" fmla="*/ 35 w 69"/>
                  <a:gd name="T21" fmla="*/ 92 h 105"/>
                  <a:gd name="T22" fmla="*/ 53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4"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4" y="105"/>
                    </a:cubicBezTo>
                    <a:close/>
                    <a:moveTo>
                      <a:pt x="35" y="14"/>
                    </a:moveTo>
                    <a:cubicBezTo>
                      <a:pt x="23" y="14"/>
                      <a:pt x="17" y="27"/>
                      <a:pt x="17" y="54"/>
                    </a:cubicBezTo>
                    <a:cubicBezTo>
                      <a:pt x="17" y="79"/>
                      <a:pt x="23" y="92"/>
                      <a:pt x="35" y="92"/>
                    </a:cubicBezTo>
                    <a:cubicBezTo>
                      <a:pt x="47" y="92"/>
                      <a:pt x="53" y="79"/>
                      <a:pt x="53" y="53"/>
                    </a:cubicBezTo>
                    <a:cubicBezTo>
                      <a:pt x="53"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8" name="Freeform 99"/>
              <p:cNvSpPr>
                <a:spLocks noEditPoints="1"/>
              </p:cNvSpPr>
              <p:nvPr/>
            </p:nvSpPr>
            <p:spPr bwMode="auto">
              <a:xfrm>
                <a:off x="8159934" y="5138907"/>
                <a:ext cx="153987" cy="231775"/>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9" name="Freeform 100"/>
              <p:cNvSpPr>
                <a:spLocks/>
              </p:cNvSpPr>
              <p:nvPr/>
            </p:nvSpPr>
            <p:spPr bwMode="auto">
              <a:xfrm>
                <a:off x="7744009" y="4861094"/>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0" name="Freeform 101"/>
              <p:cNvSpPr>
                <a:spLocks/>
              </p:cNvSpPr>
              <p:nvPr/>
            </p:nvSpPr>
            <p:spPr bwMode="auto">
              <a:xfrm>
                <a:off x="7896409" y="4861094"/>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1" name="Freeform 102"/>
              <p:cNvSpPr>
                <a:spLocks/>
              </p:cNvSpPr>
              <p:nvPr/>
            </p:nvSpPr>
            <p:spPr bwMode="auto">
              <a:xfrm>
                <a:off x="8042459" y="4861094"/>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2" name="Freeform 103"/>
              <p:cNvSpPr>
                <a:spLocks noEditPoints="1"/>
              </p:cNvSpPr>
              <p:nvPr/>
            </p:nvSpPr>
            <p:spPr bwMode="auto">
              <a:xfrm>
                <a:off x="8159934" y="4854744"/>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3" name="Freeform 84"/>
              <p:cNvSpPr>
                <a:spLocks/>
              </p:cNvSpPr>
              <p:nvPr/>
            </p:nvSpPr>
            <p:spPr bwMode="auto">
              <a:xfrm>
                <a:off x="7135469" y="4577989"/>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4" name="Freeform 85"/>
              <p:cNvSpPr>
                <a:spLocks noEditPoints="1"/>
              </p:cNvSpPr>
              <p:nvPr/>
            </p:nvSpPr>
            <p:spPr bwMode="auto">
              <a:xfrm>
                <a:off x="7251356" y="4573226"/>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5" name="Freeform 86"/>
              <p:cNvSpPr>
                <a:spLocks/>
              </p:cNvSpPr>
              <p:nvPr/>
            </p:nvSpPr>
            <p:spPr bwMode="auto">
              <a:xfrm>
                <a:off x="7433919" y="4577989"/>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6" name="Freeform 87"/>
              <p:cNvSpPr>
                <a:spLocks noEditPoints="1"/>
              </p:cNvSpPr>
              <p:nvPr/>
            </p:nvSpPr>
            <p:spPr bwMode="auto">
              <a:xfrm>
                <a:off x="7549806" y="4573226"/>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7" name="Freeform 100"/>
              <p:cNvSpPr>
                <a:spLocks/>
              </p:cNvSpPr>
              <p:nvPr/>
            </p:nvSpPr>
            <p:spPr bwMode="auto">
              <a:xfrm>
                <a:off x="7744009" y="4579576"/>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8" name="Freeform 101"/>
              <p:cNvSpPr>
                <a:spLocks/>
              </p:cNvSpPr>
              <p:nvPr/>
            </p:nvSpPr>
            <p:spPr bwMode="auto">
              <a:xfrm>
                <a:off x="7896409" y="4579576"/>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9" name="Freeform 102"/>
              <p:cNvSpPr>
                <a:spLocks/>
              </p:cNvSpPr>
              <p:nvPr/>
            </p:nvSpPr>
            <p:spPr bwMode="auto">
              <a:xfrm>
                <a:off x="8042459" y="4579576"/>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0" name="Freeform 103"/>
              <p:cNvSpPr>
                <a:spLocks noEditPoints="1"/>
              </p:cNvSpPr>
              <p:nvPr/>
            </p:nvSpPr>
            <p:spPr bwMode="auto">
              <a:xfrm>
                <a:off x="8159934" y="4573226"/>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2" name="Freeform 72"/>
              <p:cNvSpPr>
                <a:spLocks/>
              </p:cNvSpPr>
              <p:nvPr/>
            </p:nvSpPr>
            <p:spPr bwMode="auto">
              <a:xfrm>
                <a:off x="8355063" y="5699295"/>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5" name="Freeform 75"/>
              <p:cNvSpPr>
                <a:spLocks/>
              </p:cNvSpPr>
              <p:nvPr/>
            </p:nvSpPr>
            <p:spPr bwMode="auto">
              <a:xfrm>
                <a:off x="8505875" y="5145257"/>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6" name="Freeform 76"/>
              <p:cNvSpPr>
                <a:spLocks noEditPoints="1"/>
              </p:cNvSpPr>
              <p:nvPr/>
            </p:nvSpPr>
            <p:spPr bwMode="auto">
              <a:xfrm>
                <a:off x="8469363" y="5694532"/>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7" name="Freeform 77"/>
              <p:cNvSpPr>
                <a:spLocks noEditPoints="1"/>
              </p:cNvSpPr>
              <p:nvPr/>
            </p:nvSpPr>
            <p:spPr bwMode="auto">
              <a:xfrm>
                <a:off x="8472538" y="5416720"/>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8" name="Freeform 84"/>
              <p:cNvSpPr>
                <a:spLocks/>
              </p:cNvSpPr>
              <p:nvPr/>
            </p:nvSpPr>
            <p:spPr bwMode="auto">
              <a:xfrm>
                <a:off x="8353476" y="4859507"/>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9" name="Freeform 85"/>
              <p:cNvSpPr>
                <a:spLocks noEditPoints="1"/>
              </p:cNvSpPr>
              <p:nvPr/>
            </p:nvSpPr>
            <p:spPr bwMode="auto">
              <a:xfrm>
                <a:off x="8469363" y="4854744"/>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0" name="Freeform 84"/>
              <p:cNvSpPr>
                <a:spLocks/>
              </p:cNvSpPr>
              <p:nvPr/>
            </p:nvSpPr>
            <p:spPr bwMode="auto">
              <a:xfrm>
                <a:off x="8353476" y="4577989"/>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1" name="Freeform 85"/>
              <p:cNvSpPr>
                <a:spLocks noEditPoints="1"/>
              </p:cNvSpPr>
              <p:nvPr/>
            </p:nvSpPr>
            <p:spPr bwMode="auto">
              <a:xfrm>
                <a:off x="8469363" y="4573226"/>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4" name="Freeform 72"/>
              <p:cNvSpPr>
                <a:spLocks/>
              </p:cNvSpPr>
              <p:nvPr/>
            </p:nvSpPr>
            <p:spPr bwMode="auto">
              <a:xfrm>
                <a:off x="7137056" y="4022252"/>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5" name="Freeform 73"/>
              <p:cNvSpPr>
                <a:spLocks/>
              </p:cNvSpPr>
              <p:nvPr/>
            </p:nvSpPr>
            <p:spPr bwMode="auto">
              <a:xfrm>
                <a:off x="7137056" y="3749202"/>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6" name="Freeform 74"/>
              <p:cNvSpPr>
                <a:spLocks/>
              </p:cNvSpPr>
              <p:nvPr/>
            </p:nvSpPr>
            <p:spPr bwMode="auto">
              <a:xfrm>
                <a:off x="7137056" y="3468214"/>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7" name="Freeform 75"/>
              <p:cNvSpPr>
                <a:spLocks/>
              </p:cNvSpPr>
              <p:nvPr/>
            </p:nvSpPr>
            <p:spPr bwMode="auto">
              <a:xfrm>
                <a:off x="7287868" y="3468214"/>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8" name="Freeform 76"/>
              <p:cNvSpPr>
                <a:spLocks noEditPoints="1"/>
              </p:cNvSpPr>
              <p:nvPr/>
            </p:nvSpPr>
            <p:spPr bwMode="auto">
              <a:xfrm>
                <a:off x="7251356" y="401748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9" name="Freeform 77"/>
              <p:cNvSpPr>
                <a:spLocks noEditPoints="1"/>
              </p:cNvSpPr>
              <p:nvPr/>
            </p:nvSpPr>
            <p:spPr bwMode="auto">
              <a:xfrm>
                <a:off x="7254531" y="3739677"/>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0" name="Freeform 78"/>
              <p:cNvSpPr>
                <a:spLocks/>
              </p:cNvSpPr>
              <p:nvPr/>
            </p:nvSpPr>
            <p:spPr bwMode="auto">
              <a:xfrm>
                <a:off x="7433918" y="4022252"/>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2" name="Freeform 80"/>
              <p:cNvSpPr>
                <a:spLocks/>
              </p:cNvSpPr>
              <p:nvPr/>
            </p:nvSpPr>
            <p:spPr bwMode="auto">
              <a:xfrm>
                <a:off x="7433918" y="3468214"/>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3" name="Freeform 81"/>
              <p:cNvSpPr>
                <a:spLocks noEditPoints="1"/>
              </p:cNvSpPr>
              <p:nvPr/>
            </p:nvSpPr>
            <p:spPr bwMode="auto">
              <a:xfrm>
                <a:off x="7549806" y="401748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3" y="104"/>
                    </a:cubicBezTo>
                    <a:close/>
                    <a:moveTo>
                      <a:pt x="35" y="13"/>
                    </a:moveTo>
                    <a:cubicBezTo>
                      <a:pt x="23" y="13"/>
                      <a:pt x="17" y="27"/>
                      <a:pt x="17" y="54"/>
                    </a:cubicBezTo>
                    <a:cubicBezTo>
                      <a:pt x="17" y="79"/>
                      <a:pt x="23" y="91"/>
                      <a:pt x="35" y="91"/>
                    </a:cubicBezTo>
                    <a:cubicBezTo>
                      <a:pt x="47"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5" name="Freeform 83"/>
              <p:cNvSpPr>
                <a:spLocks noEditPoints="1"/>
              </p:cNvSpPr>
              <p:nvPr/>
            </p:nvSpPr>
            <p:spPr bwMode="auto">
              <a:xfrm>
                <a:off x="7551393" y="3461864"/>
                <a:ext cx="153987" cy="231775"/>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6" name="Freeform 84"/>
              <p:cNvSpPr>
                <a:spLocks/>
              </p:cNvSpPr>
              <p:nvPr/>
            </p:nvSpPr>
            <p:spPr bwMode="auto">
              <a:xfrm>
                <a:off x="7135469" y="3182464"/>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7" name="Freeform 85"/>
              <p:cNvSpPr>
                <a:spLocks noEditPoints="1"/>
              </p:cNvSpPr>
              <p:nvPr/>
            </p:nvSpPr>
            <p:spPr bwMode="auto">
              <a:xfrm>
                <a:off x="7251356" y="3177701"/>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8" name="Freeform 86"/>
              <p:cNvSpPr>
                <a:spLocks/>
              </p:cNvSpPr>
              <p:nvPr/>
            </p:nvSpPr>
            <p:spPr bwMode="auto">
              <a:xfrm>
                <a:off x="7433919" y="3182464"/>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9" name="Freeform 87"/>
              <p:cNvSpPr>
                <a:spLocks noEditPoints="1"/>
              </p:cNvSpPr>
              <p:nvPr/>
            </p:nvSpPr>
            <p:spPr bwMode="auto">
              <a:xfrm>
                <a:off x="7549806" y="3177701"/>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0" name="Freeform 88"/>
              <p:cNvSpPr>
                <a:spLocks/>
              </p:cNvSpPr>
              <p:nvPr/>
            </p:nvSpPr>
            <p:spPr bwMode="auto">
              <a:xfrm>
                <a:off x="7744009" y="4022252"/>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1" name="Freeform 89"/>
              <p:cNvSpPr>
                <a:spLocks/>
              </p:cNvSpPr>
              <p:nvPr/>
            </p:nvSpPr>
            <p:spPr bwMode="auto">
              <a:xfrm>
                <a:off x="7744009" y="3749202"/>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2" name="Freeform 90"/>
              <p:cNvSpPr>
                <a:spLocks/>
              </p:cNvSpPr>
              <p:nvPr/>
            </p:nvSpPr>
            <p:spPr bwMode="auto">
              <a:xfrm>
                <a:off x="7744009" y="3468214"/>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3" name="Freeform 91"/>
              <p:cNvSpPr>
                <a:spLocks/>
              </p:cNvSpPr>
              <p:nvPr/>
            </p:nvSpPr>
            <p:spPr bwMode="auto">
              <a:xfrm>
                <a:off x="7896409" y="3468214"/>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4" name="Freeform 92"/>
              <p:cNvSpPr>
                <a:spLocks noEditPoints="1"/>
              </p:cNvSpPr>
              <p:nvPr/>
            </p:nvSpPr>
            <p:spPr bwMode="auto">
              <a:xfrm>
                <a:off x="7859897" y="4017489"/>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6" name="Freeform 94"/>
              <p:cNvSpPr>
                <a:spLocks/>
              </p:cNvSpPr>
              <p:nvPr/>
            </p:nvSpPr>
            <p:spPr bwMode="auto">
              <a:xfrm>
                <a:off x="8042459" y="4022252"/>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8" name="Freeform 96"/>
              <p:cNvSpPr>
                <a:spLocks/>
              </p:cNvSpPr>
              <p:nvPr/>
            </p:nvSpPr>
            <p:spPr bwMode="auto">
              <a:xfrm>
                <a:off x="8042459" y="3468214"/>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9" name="Freeform 97"/>
              <p:cNvSpPr>
                <a:spLocks noEditPoints="1"/>
              </p:cNvSpPr>
              <p:nvPr/>
            </p:nvSpPr>
            <p:spPr bwMode="auto">
              <a:xfrm>
                <a:off x="8158347" y="4017489"/>
                <a:ext cx="152400"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6"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1" name="Freeform 99"/>
              <p:cNvSpPr>
                <a:spLocks noEditPoints="1"/>
              </p:cNvSpPr>
              <p:nvPr/>
            </p:nvSpPr>
            <p:spPr bwMode="auto">
              <a:xfrm>
                <a:off x="8159934" y="3461864"/>
                <a:ext cx="153987" cy="231775"/>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2" name="Freeform 100"/>
              <p:cNvSpPr>
                <a:spLocks/>
              </p:cNvSpPr>
              <p:nvPr/>
            </p:nvSpPr>
            <p:spPr bwMode="auto">
              <a:xfrm>
                <a:off x="7744009" y="3184051"/>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3" name="Freeform 101"/>
              <p:cNvSpPr>
                <a:spLocks/>
              </p:cNvSpPr>
              <p:nvPr/>
            </p:nvSpPr>
            <p:spPr bwMode="auto">
              <a:xfrm>
                <a:off x="7896409" y="3184051"/>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4" name="Freeform 102"/>
              <p:cNvSpPr>
                <a:spLocks/>
              </p:cNvSpPr>
              <p:nvPr/>
            </p:nvSpPr>
            <p:spPr bwMode="auto">
              <a:xfrm>
                <a:off x="8042459" y="3184051"/>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5" name="Freeform 103"/>
              <p:cNvSpPr>
                <a:spLocks noEditPoints="1"/>
              </p:cNvSpPr>
              <p:nvPr/>
            </p:nvSpPr>
            <p:spPr bwMode="auto">
              <a:xfrm>
                <a:off x="8159934" y="3177701"/>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6" name="Freeform 84"/>
              <p:cNvSpPr>
                <a:spLocks/>
              </p:cNvSpPr>
              <p:nvPr/>
            </p:nvSpPr>
            <p:spPr bwMode="auto">
              <a:xfrm>
                <a:off x="7135469" y="2900946"/>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7" name="Freeform 85"/>
              <p:cNvSpPr>
                <a:spLocks noEditPoints="1"/>
              </p:cNvSpPr>
              <p:nvPr/>
            </p:nvSpPr>
            <p:spPr bwMode="auto">
              <a:xfrm>
                <a:off x="7251356" y="2896183"/>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8" name="Freeform 86"/>
              <p:cNvSpPr>
                <a:spLocks/>
              </p:cNvSpPr>
              <p:nvPr/>
            </p:nvSpPr>
            <p:spPr bwMode="auto">
              <a:xfrm>
                <a:off x="7433919" y="2900946"/>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9" name="Freeform 87"/>
              <p:cNvSpPr>
                <a:spLocks noEditPoints="1"/>
              </p:cNvSpPr>
              <p:nvPr/>
            </p:nvSpPr>
            <p:spPr bwMode="auto">
              <a:xfrm>
                <a:off x="7549806" y="2896183"/>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0" name="Freeform 100"/>
              <p:cNvSpPr>
                <a:spLocks/>
              </p:cNvSpPr>
              <p:nvPr/>
            </p:nvSpPr>
            <p:spPr bwMode="auto">
              <a:xfrm>
                <a:off x="7744009" y="2902533"/>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1" name="Freeform 101"/>
              <p:cNvSpPr>
                <a:spLocks/>
              </p:cNvSpPr>
              <p:nvPr/>
            </p:nvSpPr>
            <p:spPr bwMode="auto">
              <a:xfrm>
                <a:off x="7896409" y="2902533"/>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2" name="Freeform 102"/>
              <p:cNvSpPr>
                <a:spLocks/>
              </p:cNvSpPr>
              <p:nvPr/>
            </p:nvSpPr>
            <p:spPr bwMode="auto">
              <a:xfrm>
                <a:off x="8042459" y="2902533"/>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3" name="Freeform 103"/>
              <p:cNvSpPr>
                <a:spLocks noEditPoints="1"/>
              </p:cNvSpPr>
              <p:nvPr/>
            </p:nvSpPr>
            <p:spPr bwMode="auto">
              <a:xfrm>
                <a:off x="8159934" y="2896183"/>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4" name="Freeform 72"/>
              <p:cNvSpPr>
                <a:spLocks/>
              </p:cNvSpPr>
              <p:nvPr/>
            </p:nvSpPr>
            <p:spPr bwMode="auto">
              <a:xfrm>
                <a:off x="8355063" y="4022252"/>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5" name="Freeform 73"/>
              <p:cNvSpPr>
                <a:spLocks/>
              </p:cNvSpPr>
              <p:nvPr/>
            </p:nvSpPr>
            <p:spPr bwMode="auto">
              <a:xfrm>
                <a:off x="8355063" y="3749202"/>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6" name="Freeform 74"/>
              <p:cNvSpPr>
                <a:spLocks/>
              </p:cNvSpPr>
              <p:nvPr/>
            </p:nvSpPr>
            <p:spPr bwMode="auto">
              <a:xfrm>
                <a:off x="8355063" y="3468214"/>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7" name="Freeform 75"/>
              <p:cNvSpPr>
                <a:spLocks/>
              </p:cNvSpPr>
              <p:nvPr/>
            </p:nvSpPr>
            <p:spPr bwMode="auto">
              <a:xfrm>
                <a:off x="8505875" y="3468214"/>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8" name="Freeform 76"/>
              <p:cNvSpPr>
                <a:spLocks noEditPoints="1"/>
              </p:cNvSpPr>
              <p:nvPr/>
            </p:nvSpPr>
            <p:spPr bwMode="auto">
              <a:xfrm>
                <a:off x="8469363" y="401748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9" name="Freeform 77"/>
              <p:cNvSpPr>
                <a:spLocks noEditPoints="1"/>
              </p:cNvSpPr>
              <p:nvPr/>
            </p:nvSpPr>
            <p:spPr bwMode="auto">
              <a:xfrm>
                <a:off x="8472538" y="3739677"/>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0" name="Freeform 84"/>
              <p:cNvSpPr>
                <a:spLocks/>
              </p:cNvSpPr>
              <p:nvPr/>
            </p:nvSpPr>
            <p:spPr bwMode="auto">
              <a:xfrm>
                <a:off x="8353476" y="3182464"/>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1" name="Freeform 85"/>
              <p:cNvSpPr>
                <a:spLocks noEditPoints="1"/>
              </p:cNvSpPr>
              <p:nvPr/>
            </p:nvSpPr>
            <p:spPr bwMode="auto">
              <a:xfrm>
                <a:off x="8469363" y="3177701"/>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2" name="Freeform 84"/>
              <p:cNvSpPr>
                <a:spLocks/>
              </p:cNvSpPr>
              <p:nvPr/>
            </p:nvSpPr>
            <p:spPr bwMode="auto">
              <a:xfrm>
                <a:off x="8353476" y="2900946"/>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3" name="Freeform 85"/>
              <p:cNvSpPr>
                <a:spLocks noEditPoints="1"/>
              </p:cNvSpPr>
              <p:nvPr/>
            </p:nvSpPr>
            <p:spPr bwMode="auto">
              <a:xfrm>
                <a:off x="8469363" y="2896183"/>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5" name="Freeform 72"/>
              <p:cNvSpPr>
                <a:spLocks/>
              </p:cNvSpPr>
              <p:nvPr/>
            </p:nvSpPr>
            <p:spPr bwMode="auto">
              <a:xfrm>
                <a:off x="7135469" y="2439779"/>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6" name="Freeform 73"/>
              <p:cNvSpPr>
                <a:spLocks/>
              </p:cNvSpPr>
              <p:nvPr/>
            </p:nvSpPr>
            <p:spPr bwMode="auto">
              <a:xfrm>
                <a:off x="7135469" y="2161967"/>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7" name="Freeform 74"/>
              <p:cNvSpPr>
                <a:spLocks/>
              </p:cNvSpPr>
              <p:nvPr/>
            </p:nvSpPr>
            <p:spPr bwMode="auto">
              <a:xfrm>
                <a:off x="8658473" y="2439779"/>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8" name="Freeform 75"/>
              <p:cNvSpPr>
                <a:spLocks/>
              </p:cNvSpPr>
              <p:nvPr/>
            </p:nvSpPr>
            <p:spPr bwMode="auto">
              <a:xfrm>
                <a:off x="8809285" y="2439779"/>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9" name="Freeform 76"/>
              <p:cNvSpPr>
                <a:spLocks noEditPoints="1"/>
              </p:cNvSpPr>
              <p:nvPr/>
            </p:nvSpPr>
            <p:spPr bwMode="auto">
              <a:xfrm>
                <a:off x="7249769" y="243977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0" name="Freeform 77"/>
              <p:cNvSpPr>
                <a:spLocks noEditPoints="1"/>
              </p:cNvSpPr>
              <p:nvPr/>
            </p:nvSpPr>
            <p:spPr bwMode="auto">
              <a:xfrm>
                <a:off x="7252944" y="2161967"/>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1" name="Freeform 78"/>
              <p:cNvSpPr>
                <a:spLocks/>
              </p:cNvSpPr>
              <p:nvPr/>
            </p:nvSpPr>
            <p:spPr bwMode="auto">
              <a:xfrm>
                <a:off x="7432331" y="2439779"/>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2" name="Freeform 79"/>
              <p:cNvSpPr>
                <a:spLocks/>
              </p:cNvSpPr>
              <p:nvPr/>
            </p:nvSpPr>
            <p:spPr bwMode="auto">
              <a:xfrm>
                <a:off x="7432331" y="2161967"/>
                <a:ext cx="82550"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3" name="Freeform 80"/>
              <p:cNvSpPr>
                <a:spLocks/>
              </p:cNvSpPr>
              <p:nvPr/>
            </p:nvSpPr>
            <p:spPr bwMode="auto">
              <a:xfrm>
                <a:off x="8955335" y="2439779"/>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4" name="Freeform 81"/>
              <p:cNvSpPr>
                <a:spLocks noEditPoints="1"/>
              </p:cNvSpPr>
              <p:nvPr/>
            </p:nvSpPr>
            <p:spPr bwMode="auto">
              <a:xfrm>
                <a:off x="7548219" y="243977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3" y="104"/>
                    </a:cubicBezTo>
                    <a:close/>
                    <a:moveTo>
                      <a:pt x="35" y="13"/>
                    </a:moveTo>
                    <a:cubicBezTo>
                      <a:pt x="23" y="13"/>
                      <a:pt x="17" y="27"/>
                      <a:pt x="17" y="54"/>
                    </a:cubicBezTo>
                    <a:cubicBezTo>
                      <a:pt x="17" y="79"/>
                      <a:pt x="23" y="91"/>
                      <a:pt x="35" y="91"/>
                    </a:cubicBezTo>
                    <a:cubicBezTo>
                      <a:pt x="47" y="91"/>
                      <a:pt x="52" y="79"/>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5" name="Freeform 82"/>
              <p:cNvSpPr>
                <a:spLocks noEditPoints="1"/>
              </p:cNvSpPr>
              <p:nvPr/>
            </p:nvSpPr>
            <p:spPr bwMode="auto">
              <a:xfrm>
                <a:off x="7549806" y="2161967"/>
                <a:ext cx="153987"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6" name="Freeform 83"/>
              <p:cNvSpPr>
                <a:spLocks noEditPoints="1"/>
              </p:cNvSpPr>
              <p:nvPr/>
            </p:nvSpPr>
            <p:spPr bwMode="auto">
              <a:xfrm>
                <a:off x="9072810" y="2439779"/>
                <a:ext cx="153987" cy="231775"/>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7" name="Freeform 84"/>
              <p:cNvSpPr>
                <a:spLocks/>
              </p:cNvSpPr>
              <p:nvPr/>
            </p:nvSpPr>
            <p:spPr bwMode="auto">
              <a:xfrm>
                <a:off x="8656886" y="2161967"/>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8" name="Freeform 85"/>
              <p:cNvSpPr>
                <a:spLocks noEditPoints="1"/>
              </p:cNvSpPr>
              <p:nvPr/>
            </p:nvSpPr>
            <p:spPr bwMode="auto">
              <a:xfrm>
                <a:off x="8772773" y="2161967"/>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9" name="Freeform 86"/>
              <p:cNvSpPr>
                <a:spLocks/>
              </p:cNvSpPr>
              <p:nvPr/>
            </p:nvSpPr>
            <p:spPr bwMode="auto">
              <a:xfrm>
                <a:off x="8955336" y="2161967"/>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0" name="Freeform 87"/>
              <p:cNvSpPr>
                <a:spLocks noEditPoints="1"/>
              </p:cNvSpPr>
              <p:nvPr/>
            </p:nvSpPr>
            <p:spPr bwMode="auto">
              <a:xfrm>
                <a:off x="9071223" y="2161967"/>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1" name="Freeform 88"/>
              <p:cNvSpPr>
                <a:spLocks/>
              </p:cNvSpPr>
              <p:nvPr/>
            </p:nvSpPr>
            <p:spPr bwMode="auto">
              <a:xfrm>
                <a:off x="7742422" y="2439779"/>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2" name="Freeform 89"/>
              <p:cNvSpPr>
                <a:spLocks/>
              </p:cNvSpPr>
              <p:nvPr/>
            </p:nvSpPr>
            <p:spPr bwMode="auto">
              <a:xfrm>
                <a:off x="7742422" y="2161967"/>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3" name="Freeform 90"/>
              <p:cNvSpPr>
                <a:spLocks/>
              </p:cNvSpPr>
              <p:nvPr/>
            </p:nvSpPr>
            <p:spPr bwMode="auto">
              <a:xfrm>
                <a:off x="9265426" y="2439779"/>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4" name="Freeform 91"/>
              <p:cNvSpPr>
                <a:spLocks/>
              </p:cNvSpPr>
              <p:nvPr/>
            </p:nvSpPr>
            <p:spPr bwMode="auto">
              <a:xfrm>
                <a:off x="9417826" y="2439779"/>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5" name="Freeform 92"/>
              <p:cNvSpPr>
                <a:spLocks noEditPoints="1"/>
              </p:cNvSpPr>
              <p:nvPr/>
            </p:nvSpPr>
            <p:spPr bwMode="auto">
              <a:xfrm>
                <a:off x="7858310" y="2439779"/>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6" name="Freeform 93"/>
              <p:cNvSpPr>
                <a:spLocks noEditPoints="1"/>
              </p:cNvSpPr>
              <p:nvPr/>
            </p:nvSpPr>
            <p:spPr bwMode="auto">
              <a:xfrm>
                <a:off x="7861485" y="2161967"/>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3" y="105"/>
                    </a:cubicBezTo>
                    <a:close/>
                    <a:moveTo>
                      <a:pt x="35" y="14"/>
                    </a:moveTo>
                    <a:cubicBezTo>
                      <a:pt x="23" y="14"/>
                      <a:pt x="17" y="27"/>
                      <a:pt x="17" y="54"/>
                    </a:cubicBezTo>
                    <a:cubicBezTo>
                      <a:pt x="17" y="79"/>
                      <a:pt x="23" y="92"/>
                      <a:pt x="35" y="92"/>
                    </a:cubicBezTo>
                    <a:cubicBezTo>
                      <a:pt x="47" y="92"/>
                      <a:pt x="52" y="79"/>
                      <a:pt x="52" y="53"/>
                    </a:cubicBezTo>
                    <a:cubicBezTo>
                      <a:pt x="52" y="27"/>
                      <a:pt x="47" y="14"/>
                      <a:pt x="35" y="14"/>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7" name="Freeform 94"/>
              <p:cNvSpPr>
                <a:spLocks/>
              </p:cNvSpPr>
              <p:nvPr/>
            </p:nvSpPr>
            <p:spPr bwMode="auto">
              <a:xfrm>
                <a:off x="8040872" y="2439779"/>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3" y="5"/>
                    </a:cubicBezTo>
                    <a:cubicBezTo>
                      <a:pt x="25" y="4"/>
                      <a:pt x="28"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8" name="Freeform 95"/>
              <p:cNvSpPr>
                <a:spLocks/>
              </p:cNvSpPr>
              <p:nvPr/>
            </p:nvSpPr>
            <p:spPr bwMode="auto">
              <a:xfrm>
                <a:off x="8040872" y="2161967"/>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3" y="5"/>
                    </a:cubicBezTo>
                    <a:cubicBezTo>
                      <a:pt x="25" y="3"/>
                      <a:pt x="28"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9" name="Freeform 96"/>
              <p:cNvSpPr>
                <a:spLocks/>
              </p:cNvSpPr>
              <p:nvPr/>
            </p:nvSpPr>
            <p:spPr bwMode="auto">
              <a:xfrm>
                <a:off x="9563876" y="2439779"/>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0" name="Freeform 97"/>
              <p:cNvSpPr>
                <a:spLocks noEditPoints="1"/>
              </p:cNvSpPr>
              <p:nvPr/>
            </p:nvSpPr>
            <p:spPr bwMode="auto">
              <a:xfrm>
                <a:off x="8156760" y="2439779"/>
                <a:ext cx="152400"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6"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1" name="Freeform 98"/>
              <p:cNvSpPr>
                <a:spLocks noEditPoints="1"/>
              </p:cNvSpPr>
              <p:nvPr/>
            </p:nvSpPr>
            <p:spPr bwMode="auto">
              <a:xfrm>
                <a:off x="8158347" y="2161967"/>
                <a:ext cx="153987" cy="233363"/>
              </a:xfrm>
              <a:custGeom>
                <a:avLst/>
                <a:gdLst>
                  <a:gd name="T0" fmla="*/ 34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4 w 69"/>
                  <a:gd name="T15" fmla="*/ 105 h 105"/>
                  <a:gd name="T16" fmla="*/ 35 w 69"/>
                  <a:gd name="T17" fmla="*/ 14 h 105"/>
                  <a:gd name="T18" fmla="*/ 17 w 69"/>
                  <a:gd name="T19" fmla="*/ 54 h 105"/>
                  <a:gd name="T20" fmla="*/ 35 w 69"/>
                  <a:gd name="T21" fmla="*/ 92 h 105"/>
                  <a:gd name="T22" fmla="*/ 53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4"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4" y="105"/>
                    </a:cubicBezTo>
                    <a:close/>
                    <a:moveTo>
                      <a:pt x="35" y="14"/>
                    </a:moveTo>
                    <a:cubicBezTo>
                      <a:pt x="23" y="14"/>
                      <a:pt x="17" y="27"/>
                      <a:pt x="17" y="54"/>
                    </a:cubicBezTo>
                    <a:cubicBezTo>
                      <a:pt x="17" y="79"/>
                      <a:pt x="23" y="92"/>
                      <a:pt x="35" y="92"/>
                    </a:cubicBezTo>
                    <a:cubicBezTo>
                      <a:pt x="47" y="92"/>
                      <a:pt x="53" y="79"/>
                      <a:pt x="53" y="53"/>
                    </a:cubicBezTo>
                    <a:cubicBezTo>
                      <a:pt x="53" y="27"/>
                      <a:pt x="47" y="14"/>
                      <a:pt x="35" y="14"/>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2" name="Freeform 99"/>
              <p:cNvSpPr>
                <a:spLocks noEditPoints="1"/>
              </p:cNvSpPr>
              <p:nvPr/>
            </p:nvSpPr>
            <p:spPr bwMode="auto">
              <a:xfrm>
                <a:off x="9681351" y="2439779"/>
                <a:ext cx="153987" cy="231775"/>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3" name="Freeform 100"/>
              <p:cNvSpPr>
                <a:spLocks/>
              </p:cNvSpPr>
              <p:nvPr/>
            </p:nvSpPr>
            <p:spPr bwMode="auto">
              <a:xfrm>
                <a:off x="9265426" y="2161967"/>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4" name="Freeform 101"/>
              <p:cNvSpPr>
                <a:spLocks/>
              </p:cNvSpPr>
              <p:nvPr/>
            </p:nvSpPr>
            <p:spPr bwMode="auto">
              <a:xfrm>
                <a:off x="9417826" y="2161967"/>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5" name="Freeform 102"/>
              <p:cNvSpPr>
                <a:spLocks/>
              </p:cNvSpPr>
              <p:nvPr/>
            </p:nvSpPr>
            <p:spPr bwMode="auto">
              <a:xfrm>
                <a:off x="9563876" y="2161967"/>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6" name="Freeform 103"/>
              <p:cNvSpPr>
                <a:spLocks noEditPoints="1"/>
              </p:cNvSpPr>
              <p:nvPr/>
            </p:nvSpPr>
            <p:spPr bwMode="auto">
              <a:xfrm>
                <a:off x="9681351" y="2161967"/>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5" name="Freeform 72"/>
              <p:cNvSpPr>
                <a:spLocks/>
              </p:cNvSpPr>
              <p:nvPr/>
            </p:nvSpPr>
            <p:spPr bwMode="auto">
              <a:xfrm>
                <a:off x="8353476" y="2439779"/>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6" name="Freeform 73"/>
              <p:cNvSpPr>
                <a:spLocks/>
              </p:cNvSpPr>
              <p:nvPr/>
            </p:nvSpPr>
            <p:spPr bwMode="auto">
              <a:xfrm>
                <a:off x="8353476" y="2161967"/>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7" name="Freeform 74"/>
              <p:cNvSpPr>
                <a:spLocks/>
              </p:cNvSpPr>
              <p:nvPr/>
            </p:nvSpPr>
            <p:spPr bwMode="auto">
              <a:xfrm>
                <a:off x="9876480" y="2439779"/>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8" name="Freeform 75"/>
              <p:cNvSpPr>
                <a:spLocks/>
              </p:cNvSpPr>
              <p:nvPr/>
            </p:nvSpPr>
            <p:spPr bwMode="auto">
              <a:xfrm>
                <a:off x="10027292" y="2439779"/>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9" name="Freeform 76"/>
              <p:cNvSpPr>
                <a:spLocks noEditPoints="1"/>
              </p:cNvSpPr>
              <p:nvPr/>
            </p:nvSpPr>
            <p:spPr bwMode="auto">
              <a:xfrm>
                <a:off x="8467776" y="243977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0" name="Freeform 77"/>
              <p:cNvSpPr>
                <a:spLocks noEditPoints="1"/>
              </p:cNvSpPr>
              <p:nvPr/>
            </p:nvSpPr>
            <p:spPr bwMode="auto">
              <a:xfrm>
                <a:off x="8470951" y="2161967"/>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1" name="Freeform 84"/>
              <p:cNvSpPr>
                <a:spLocks/>
              </p:cNvSpPr>
              <p:nvPr/>
            </p:nvSpPr>
            <p:spPr bwMode="auto">
              <a:xfrm>
                <a:off x="9874893" y="2161967"/>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2" name="Freeform 85"/>
              <p:cNvSpPr>
                <a:spLocks noEditPoints="1"/>
              </p:cNvSpPr>
              <p:nvPr/>
            </p:nvSpPr>
            <p:spPr bwMode="auto">
              <a:xfrm>
                <a:off x="9990780" y="2161967"/>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1" name="Freeform 72"/>
              <p:cNvSpPr>
                <a:spLocks/>
              </p:cNvSpPr>
              <p:nvPr/>
            </p:nvSpPr>
            <p:spPr bwMode="auto">
              <a:xfrm>
                <a:off x="7135469" y="1887273"/>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4" name="Freeform 74"/>
              <p:cNvSpPr>
                <a:spLocks/>
              </p:cNvSpPr>
              <p:nvPr/>
            </p:nvSpPr>
            <p:spPr bwMode="auto">
              <a:xfrm>
                <a:off x="8658473" y="1887273"/>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6" name="Freeform 75"/>
              <p:cNvSpPr>
                <a:spLocks/>
              </p:cNvSpPr>
              <p:nvPr/>
            </p:nvSpPr>
            <p:spPr bwMode="auto">
              <a:xfrm>
                <a:off x="8809285" y="1887273"/>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7" name="Freeform 76"/>
              <p:cNvSpPr>
                <a:spLocks noEditPoints="1"/>
              </p:cNvSpPr>
              <p:nvPr/>
            </p:nvSpPr>
            <p:spPr bwMode="auto">
              <a:xfrm>
                <a:off x="7249769" y="1887273"/>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8" name="Freeform 78"/>
              <p:cNvSpPr>
                <a:spLocks/>
              </p:cNvSpPr>
              <p:nvPr/>
            </p:nvSpPr>
            <p:spPr bwMode="auto">
              <a:xfrm>
                <a:off x="7432331" y="1887273"/>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9" name="Freeform 80"/>
              <p:cNvSpPr>
                <a:spLocks/>
              </p:cNvSpPr>
              <p:nvPr/>
            </p:nvSpPr>
            <p:spPr bwMode="auto">
              <a:xfrm>
                <a:off x="8955335" y="1887273"/>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0" name="Freeform 81"/>
              <p:cNvSpPr>
                <a:spLocks noEditPoints="1"/>
              </p:cNvSpPr>
              <p:nvPr/>
            </p:nvSpPr>
            <p:spPr bwMode="auto">
              <a:xfrm>
                <a:off x="7548219" y="1887273"/>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3" y="104"/>
                    </a:cubicBezTo>
                    <a:close/>
                    <a:moveTo>
                      <a:pt x="35" y="13"/>
                    </a:moveTo>
                    <a:cubicBezTo>
                      <a:pt x="23" y="13"/>
                      <a:pt x="17" y="27"/>
                      <a:pt x="17" y="54"/>
                    </a:cubicBezTo>
                    <a:cubicBezTo>
                      <a:pt x="17" y="79"/>
                      <a:pt x="23" y="91"/>
                      <a:pt x="35" y="91"/>
                    </a:cubicBezTo>
                    <a:cubicBezTo>
                      <a:pt x="47" y="91"/>
                      <a:pt x="52" y="79"/>
                      <a:pt x="52" y="53"/>
                    </a:cubicBezTo>
                    <a:cubicBezTo>
                      <a:pt x="52" y="26"/>
                      <a:pt x="47"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1" name="Freeform 83"/>
              <p:cNvSpPr>
                <a:spLocks noEditPoints="1"/>
              </p:cNvSpPr>
              <p:nvPr/>
            </p:nvSpPr>
            <p:spPr bwMode="auto">
              <a:xfrm>
                <a:off x="9072810" y="1887273"/>
                <a:ext cx="153987" cy="231775"/>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2" name="Freeform 88"/>
              <p:cNvSpPr>
                <a:spLocks/>
              </p:cNvSpPr>
              <p:nvPr/>
            </p:nvSpPr>
            <p:spPr bwMode="auto">
              <a:xfrm>
                <a:off x="7742422" y="1887273"/>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3" name="Freeform 90"/>
              <p:cNvSpPr>
                <a:spLocks/>
              </p:cNvSpPr>
              <p:nvPr/>
            </p:nvSpPr>
            <p:spPr bwMode="auto">
              <a:xfrm>
                <a:off x="9265426" y="1887273"/>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4" name="Freeform 91"/>
              <p:cNvSpPr>
                <a:spLocks/>
              </p:cNvSpPr>
              <p:nvPr/>
            </p:nvSpPr>
            <p:spPr bwMode="auto">
              <a:xfrm>
                <a:off x="9417826" y="1887273"/>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5" name="Freeform 92"/>
              <p:cNvSpPr>
                <a:spLocks noEditPoints="1"/>
              </p:cNvSpPr>
              <p:nvPr/>
            </p:nvSpPr>
            <p:spPr bwMode="auto">
              <a:xfrm>
                <a:off x="7858310" y="1887273"/>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6" name="Freeform 94"/>
              <p:cNvSpPr>
                <a:spLocks/>
              </p:cNvSpPr>
              <p:nvPr/>
            </p:nvSpPr>
            <p:spPr bwMode="auto">
              <a:xfrm>
                <a:off x="8040872" y="1887273"/>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3" y="5"/>
                    </a:cubicBezTo>
                    <a:cubicBezTo>
                      <a:pt x="25" y="4"/>
                      <a:pt x="28"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7" name="Freeform 96"/>
              <p:cNvSpPr>
                <a:spLocks/>
              </p:cNvSpPr>
              <p:nvPr/>
            </p:nvSpPr>
            <p:spPr bwMode="auto">
              <a:xfrm>
                <a:off x="9563876" y="1887273"/>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8" name="Freeform 97"/>
              <p:cNvSpPr>
                <a:spLocks noEditPoints="1"/>
              </p:cNvSpPr>
              <p:nvPr/>
            </p:nvSpPr>
            <p:spPr bwMode="auto">
              <a:xfrm>
                <a:off x="8156760" y="1887273"/>
                <a:ext cx="152400"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6"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9" name="Freeform 99"/>
              <p:cNvSpPr>
                <a:spLocks noEditPoints="1"/>
              </p:cNvSpPr>
              <p:nvPr/>
            </p:nvSpPr>
            <p:spPr bwMode="auto">
              <a:xfrm>
                <a:off x="9681351" y="1887273"/>
                <a:ext cx="153987" cy="231775"/>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0" name="Freeform 72"/>
              <p:cNvSpPr>
                <a:spLocks/>
              </p:cNvSpPr>
              <p:nvPr/>
            </p:nvSpPr>
            <p:spPr bwMode="auto">
              <a:xfrm>
                <a:off x="8353476" y="1887273"/>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1" name="Freeform 74"/>
              <p:cNvSpPr>
                <a:spLocks/>
              </p:cNvSpPr>
              <p:nvPr/>
            </p:nvSpPr>
            <p:spPr bwMode="auto">
              <a:xfrm>
                <a:off x="9876480" y="1887273"/>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2" name="Freeform 75"/>
              <p:cNvSpPr>
                <a:spLocks/>
              </p:cNvSpPr>
              <p:nvPr/>
            </p:nvSpPr>
            <p:spPr bwMode="auto">
              <a:xfrm>
                <a:off x="10027292" y="1887273"/>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3" name="Freeform 76"/>
              <p:cNvSpPr>
                <a:spLocks noEditPoints="1"/>
              </p:cNvSpPr>
              <p:nvPr/>
            </p:nvSpPr>
            <p:spPr bwMode="auto">
              <a:xfrm>
                <a:off x="8467776" y="1887273"/>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5" name="Freeform 72"/>
              <p:cNvSpPr>
                <a:spLocks/>
              </p:cNvSpPr>
              <p:nvPr/>
            </p:nvSpPr>
            <p:spPr bwMode="auto">
              <a:xfrm>
                <a:off x="8834865" y="4022252"/>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6" name="Freeform 73"/>
              <p:cNvSpPr>
                <a:spLocks/>
              </p:cNvSpPr>
              <p:nvPr/>
            </p:nvSpPr>
            <p:spPr bwMode="auto">
              <a:xfrm>
                <a:off x="8834865" y="3749202"/>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7" name="Freeform 74"/>
              <p:cNvSpPr>
                <a:spLocks/>
              </p:cNvSpPr>
              <p:nvPr/>
            </p:nvSpPr>
            <p:spPr bwMode="auto">
              <a:xfrm>
                <a:off x="8834865" y="3468214"/>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8" name="Freeform 75"/>
              <p:cNvSpPr>
                <a:spLocks/>
              </p:cNvSpPr>
              <p:nvPr/>
            </p:nvSpPr>
            <p:spPr bwMode="auto">
              <a:xfrm>
                <a:off x="8985677" y="3468214"/>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9" name="Freeform 76"/>
              <p:cNvSpPr>
                <a:spLocks noEditPoints="1"/>
              </p:cNvSpPr>
              <p:nvPr/>
            </p:nvSpPr>
            <p:spPr bwMode="auto">
              <a:xfrm>
                <a:off x="8949165" y="401748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1" name="Freeform 78"/>
              <p:cNvSpPr>
                <a:spLocks/>
              </p:cNvSpPr>
              <p:nvPr/>
            </p:nvSpPr>
            <p:spPr bwMode="auto">
              <a:xfrm>
                <a:off x="9131727" y="4022252"/>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2" name="Freeform 79"/>
              <p:cNvSpPr>
                <a:spLocks/>
              </p:cNvSpPr>
              <p:nvPr/>
            </p:nvSpPr>
            <p:spPr bwMode="auto">
              <a:xfrm>
                <a:off x="9131727" y="3749202"/>
                <a:ext cx="82550"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4" name="Freeform 81"/>
              <p:cNvSpPr>
                <a:spLocks noEditPoints="1"/>
              </p:cNvSpPr>
              <p:nvPr/>
            </p:nvSpPr>
            <p:spPr bwMode="auto">
              <a:xfrm>
                <a:off x="9247615" y="401748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3" y="104"/>
                    </a:cubicBezTo>
                    <a:close/>
                    <a:moveTo>
                      <a:pt x="35" y="13"/>
                    </a:moveTo>
                    <a:cubicBezTo>
                      <a:pt x="23" y="13"/>
                      <a:pt x="17" y="27"/>
                      <a:pt x="17" y="54"/>
                    </a:cubicBezTo>
                    <a:cubicBezTo>
                      <a:pt x="17" y="79"/>
                      <a:pt x="23" y="91"/>
                      <a:pt x="35" y="91"/>
                    </a:cubicBezTo>
                    <a:cubicBezTo>
                      <a:pt x="47"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6" name="Freeform 83"/>
              <p:cNvSpPr>
                <a:spLocks noEditPoints="1"/>
              </p:cNvSpPr>
              <p:nvPr/>
            </p:nvSpPr>
            <p:spPr bwMode="auto">
              <a:xfrm>
                <a:off x="9249202" y="3461864"/>
                <a:ext cx="153987" cy="231775"/>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7" name="Freeform 84"/>
              <p:cNvSpPr>
                <a:spLocks/>
              </p:cNvSpPr>
              <p:nvPr/>
            </p:nvSpPr>
            <p:spPr bwMode="auto">
              <a:xfrm>
                <a:off x="8833278" y="3182464"/>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8" name="Freeform 85"/>
              <p:cNvSpPr>
                <a:spLocks noEditPoints="1"/>
              </p:cNvSpPr>
              <p:nvPr/>
            </p:nvSpPr>
            <p:spPr bwMode="auto">
              <a:xfrm>
                <a:off x="8949165" y="3177701"/>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0" name="Freeform 87"/>
              <p:cNvSpPr>
                <a:spLocks noEditPoints="1"/>
              </p:cNvSpPr>
              <p:nvPr/>
            </p:nvSpPr>
            <p:spPr bwMode="auto">
              <a:xfrm>
                <a:off x="9247615" y="3177701"/>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1" name="Freeform 88"/>
              <p:cNvSpPr>
                <a:spLocks/>
              </p:cNvSpPr>
              <p:nvPr/>
            </p:nvSpPr>
            <p:spPr bwMode="auto">
              <a:xfrm>
                <a:off x="9441818" y="4022252"/>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2" name="Freeform 89"/>
              <p:cNvSpPr>
                <a:spLocks/>
              </p:cNvSpPr>
              <p:nvPr/>
            </p:nvSpPr>
            <p:spPr bwMode="auto">
              <a:xfrm>
                <a:off x="9441818" y="3749202"/>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3" name="Freeform 90"/>
              <p:cNvSpPr>
                <a:spLocks/>
              </p:cNvSpPr>
              <p:nvPr/>
            </p:nvSpPr>
            <p:spPr bwMode="auto">
              <a:xfrm>
                <a:off x="9441818" y="3468214"/>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4" name="Freeform 91"/>
              <p:cNvSpPr>
                <a:spLocks/>
              </p:cNvSpPr>
              <p:nvPr/>
            </p:nvSpPr>
            <p:spPr bwMode="auto">
              <a:xfrm>
                <a:off x="9594218" y="3468214"/>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5" name="Freeform 92"/>
              <p:cNvSpPr>
                <a:spLocks noEditPoints="1"/>
              </p:cNvSpPr>
              <p:nvPr/>
            </p:nvSpPr>
            <p:spPr bwMode="auto">
              <a:xfrm>
                <a:off x="9557706" y="4017489"/>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6" name="Freeform 93"/>
              <p:cNvSpPr>
                <a:spLocks noEditPoints="1"/>
              </p:cNvSpPr>
              <p:nvPr/>
            </p:nvSpPr>
            <p:spPr bwMode="auto">
              <a:xfrm>
                <a:off x="9560881" y="3739677"/>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3" y="105"/>
                    </a:cubicBezTo>
                    <a:close/>
                    <a:moveTo>
                      <a:pt x="35" y="14"/>
                    </a:moveTo>
                    <a:cubicBezTo>
                      <a:pt x="23" y="14"/>
                      <a:pt x="17" y="27"/>
                      <a:pt x="17" y="54"/>
                    </a:cubicBezTo>
                    <a:cubicBezTo>
                      <a:pt x="17" y="79"/>
                      <a:pt x="23" y="92"/>
                      <a:pt x="35" y="92"/>
                    </a:cubicBezTo>
                    <a:cubicBezTo>
                      <a:pt x="47" y="92"/>
                      <a:pt x="52" y="79"/>
                      <a:pt x="52" y="53"/>
                    </a:cubicBezTo>
                    <a:cubicBezTo>
                      <a:pt x="52"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8" name="Freeform 95"/>
              <p:cNvSpPr>
                <a:spLocks/>
              </p:cNvSpPr>
              <p:nvPr/>
            </p:nvSpPr>
            <p:spPr bwMode="auto">
              <a:xfrm>
                <a:off x="9740268" y="3749202"/>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9" name="Freeform 96"/>
              <p:cNvSpPr>
                <a:spLocks/>
              </p:cNvSpPr>
              <p:nvPr/>
            </p:nvSpPr>
            <p:spPr bwMode="auto">
              <a:xfrm>
                <a:off x="9740268" y="3468214"/>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1" name="Freeform 98"/>
              <p:cNvSpPr>
                <a:spLocks noEditPoints="1"/>
              </p:cNvSpPr>
              <p:nvPr/>
            </p:nvSpPr>
            <p:spPr bwMode="auto">
              <a:xfrm>
                <a:off x="9857743" y="3739677"/>
                <a:ext cx="153987" cy="233363"/>
              </a:xfrm>
              <a:custGeom>
                <a:avLst/>
                <a:gdLst>
                  <a:gd name="T0" fmla="*/ 34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4 w 69"/>
                  <a:gd name="T15" fmla="*/ 105 h 105"/>
                  <a:gd name="T16" fmla="*/ 35 w 69"/>
                  <a:gd name="T17" fmla="*/ 14 h 105"/>
                  <a:gd name="T18" fmla="*/ 17 w 69"/>
                  <a:gd name="T19" fmla="*/ 54 h 105"/>
                  <a:gd name="T20" fmla="*/ 35 w 69"/>
                  <a:gd name="T21" fmla="*/ 92 h 105"/>
                  <a:gd name="T22" fmla="*/ 53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4"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4" y="105"/>
                    </a:cubicBezTo>
                    <a:close/>
                    <a:moveTo>
                      <a:pt x="35" y="14"/>
                    </a:moveTo>
                    <a:cubicBezTo>
                      <a:pt x="23" y="14"/>
                      <a:pt x="17" y="27"/>
                      <a:pt x="17" y="54"/>
                    </a:cubicBezTo>
                    <a:cubicBezTo>
                      <a:pt x="17" y="79"/>
                      <a:pt x="23" y="92"/>
                      <a:pt x="35" y="92"/>
                    </a:cubicBezTo>
                    <a:cubicBezTo>
                      <a:pt x="47" y="92"/>
                      <a:pt x="53" y="79"/>
                      <a:pt x="53" y="53"/>
                    </a:cubicBezTo>
                    <a:cubicBezTo>
                      <a:pt x="53"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2" name="Freeform 99"/>
              <p:cNvSpPr>
                <a:spLocks noEditPoints="1"/>
              </p:cNvSpPr>
              <p:nvPr/>
            </p:nvSpPr>
            <p:spPr bwMode="auto">
              <a:xfrm>
                <a:off x="9857743" y="3461864"/>
                <a:ext cx="153987" cy="231775"/>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4" name="Freeform 101"/>
              <p:cNvSpPr>
                <a:spLocks/>
              </p:cNvSpPr>
              <p:nvPr/>
            </p:nvSpPr>
            <p:spPr bwMode="auto">
              <a:xfrm>
                <a:off x="9594218" y="3184051"/>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5" name="Freeform 102"/>
              <p:cNvSpPr>
                <a:spLocks/>
              </p:cNvSpPr>
              <p:nvPr/>
            </p:nvSpPr>
            <p:spPr bwMode="auto">
              <a:xfrm>
                <a:off x="9740268" y="3184051"/>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6" name="Freeform 103"/>
              <p:cNvSpPr>
                <a:spLocks noEditPoints="1"/>
              </p:cNvSpPr>
              <p:nvPr/>
            </p:nvSpPr>
            <p:spPr bwMode="auto">
              <a:xfrm>
                <a:off x="9857743" y="3177701"/>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7" name="Freeform 84"/>
              <p:cNvSpPr>
                <a:spLocks/>
              </p:cNvSpPr>
              <p:nvPr/>
            </p:nvSpPr>
            <p:spPr bwMode="auto">
              <a:xfrm>
                <a:off x="8833278" y="2900946"/>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8" name="Freeform 85"/>
              <p:cNvSpPr>
                <a:spLocks noEditPoints="1"/>
              </p:cNvSpPr>
              <p:nvPr/>
            </p:nvSpPr>
            <p:spPr bwMode="auto">
              <a:xfrm>
                <a:off x="8949165" y="2896183"/>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9" name="Freeform 86"/>
              <p:cNvSpPr>
                <a:spLocks/>
              </p:cNvSpPr>
              <p:nvPr/>
            </p:nvSpPr>
            <p:spPr bwMode="auto">
              <a:xfrm>
                <a:off x="9131728" y="2900946"/>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0" name="Freeform 87"/>
              <p:cNvSpPr>
                <a:spLocks noEditPoints="1"/>
              </p:cNvSpPr>
              <p:nvPr/>
            </p:nvSpPr>
            <p:spPr bwMode="auto">
              <a:xfrm>
                <a:off x="9247615" y="2896183"/>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1" name="Freeform 100"/>
              <p:cNvSpPr>
                <a:spLocks/>
              </p:cNvSpPr>
              <p:nvPr/>
            </p:nvSpPr>
            <p:spPr bwMode="auto">
              <a:xfrm>
                <a:off x="9441818" y="2902533"/>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2" name="Freeform 101"/>
              <p:cNvSpPr>
                <a:spLocks/>
              </p:cNvSpPr>
              <p:nvPr/>
            </p:nvSpPr>
            <p:spPr bwMode="auto">
              <a:xfrm>
                <a:off x="9594218" y="2902533"/>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3" name="Freeform 102"/>
              <p:cNvSpPr>
                <a:spLocks/>
              </p:cNvSpPr>
              <p:nvPr/>
            </p:nvSpPr>
            <p:spPr bwMode="auto">
              <a:xfrm>
                <a:off x="9740268" y="2902533"/>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4" name="Freeform 103"/>
              <p:cNvSpPr>
                <a:spLocks noEditPoints="1"/>
              </p:cNvSpPr>
              <p:nvPr/>
            </p:nvSpPr>
            <p:spPr bwMode="auto">
              <a:xfrm>
                <a:off x="9857743" y="2896183"/>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5" name="Freeform 72"/>
              <p:cNvSpPr>
                <a:spLocks/>
              </p:cNvSpPr>
              <p:nvPr/>
            </p:nvSpPr>
            <p:spPr bwMode="auto">
              <a:xfrm>
                <a:off x="10052872" y="4022252"/>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6" name="Freeform 73"/>
              <p:cNvSpPr>
                <a:spLocks/>
              </p:cNvSpPr>
              <p:nvPr/>
            </p:nvSpPr>
            <p:spPr bwMode="auto">
              <a:xfrm>
                <a:off x="10052872" y="3749202"/>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7" name="Freeform 74"/>
              <p:cNvSpPr>
                <a:spLocks/>
              </p:cNvSpPr>
              <p:nvPr/>
            </p:nvSpPr>
            <p:spPr bwMode="auto">
              <a:xfrm>
                <a:off x="10052872" y="3468214"/>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1" name="Freeform 84"/>
              <p:cNvSpPr>
                <a:spLocks/>
              </p:cNvSpPr>
              <p:nvPr/>
            </p:nvSpPr>
            <p:spPr bwMode="auto">
              <a:xfrm>
                <a:off x="10051285" y="3182464"/>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3" name="Freeform 84"/>
              <p:cNvSpPr>
                <a:spLocks/>
              </p:cNvSpPr>
              <p:nvPr/>
            </p:nvSpPr>
            <p:spPr bwMode="auto">
              <a:xfrm>
                <a:off x="10051285" y="2900946"/>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5" name="Freeform 72"/>
              <p:cNvSpPr>
                <a:spLocks/>
              </p:cNvSpPr>
              <p:nvPr/>
            </p:nvSpPr>
            <p:spPr bwMode="auto">
              <a:xfrm>
                <a:off x="8845798" y="5423015"/>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6" name="Freeform 73"/>
              <p:cNvSpPr>
                <a:spLocks/>
              </p:cNvSpPr>
              <p:nvPr/>
            </p:nvSpPr>
            <p:spPr bwMode="auto">
              <a:xfrm>
                <a:off x="8845798" y="5149965"/>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7" name="Freeform 74"/>
              <p:cNvSpPr>
                <a:spLocks/>
              </p:cNvSpPr>
              <p:nvPr/>
            </p:nvSpPr>
            <p:spPr bwMode="auto">
              <a:xfrm>
                <a:off x="8845798" y="4868977"/>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9" name="Freeform 76"/>
              <p:cNvSpPr>
                <a:spLocks noEditPoints="1"/>
              </p:cNvSpPr>
              <p:nvPr/>
            </p:nvSpPr>
            <p:spPr bwMode="auto">
              <a:xfrm>
                <a:off x="8960098" y="5418252"/>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0" name="Freeform 77"/>
              <p:cNvSpPr>
                <a:spLocks noEditPoints="1"/>
              </p:cNvSpPr>
              <p:nvPr/>
            </p:nvSpPr>
            <p:spPr bwMode="auto">
              <a:xfrm>
                <a:off x="8963273" y="5140440"/>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1" name="Freeform 78"/>
              <p:cNvSpPr>
                <a:spLocks/>
              </p:cNvSpPr>
              <p:nvPr/>
            </p:nvSpPr>
            <p:spPr bwMode="auto">
              <a:xfrm>
                <a:off x="9142660" y="5423015"/>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4" name="Freeform 81"/>
              <p:cNvSpPr>
                <a:spLocks noEditPoints="1"/>
              </p:cNvSpPr>
              <p:nvPr/>
            </p:nvSpPr>
            <p:spPr bwMode="auto">
              <a:xfrm>
                <a:off x="9258548" y="5418252"/>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3" y="104"/>
                    </a:cubicBezTo>
                    <a:close/>
                    <a:moveTo>
                      <a:pt x="35" y="13"/>
                    </a:moveTo>
                    <a:cubicBezTo>
                      <a:pt x="23" y="13"/>
                      <a:pt x="17" y="27"/>
                      <a:pt x="17" y="54"/>
                    </a:cubicBezTo>
                    <a:cubicBezTo>
                      <a:pt x="17" y="79"/>
                      <a:pt x="23" y="91"/>
                      <a:pt x="35" y="91"/>
                    </a:cubicBezTo>
                    <a:cubicBezTo>
                      <a:pt x="47"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6" name="Freeform 83"/>
              <p:cNvSpPr>
                <a:spLocks noEditPoints="1"/>
              </p:cNvSpPr>
              <p:nvPr/>
            </p:nvSpPr>
            <p:spPr bwMode="auto">
              <a:xfrm>
                <a:off x="9260135" y="4862627"/>
                <a:ext cx="153987" cy="231775"/>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7" name="Freeform 84"/>
              <p:cNvSpPr>
                <a:spLocks/>
              </p:cNvSpPr>
              <p:nvPr/>
            </p:nvSpPr>
            <p:spPr bwMode="auto">
              <a:xfrm>
                <a:off x="8844211" y="4583227"/>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8" name="Freeform 85"/>
              <p:cNvSpPr>
                <a:spLocks noEditPoints="1"/>
              </p:cNvSpPr>
              <p:nvPr/>
            </p:nvSpPr>
            <p:spPr bwMode="auto">
              <a:xfrm>
                <a:off x="8960098" y="4578464"/>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9" name="Freeform 86"/>
              <p:cNvSpPr>
                <a:spLocks/>
              </p:cNvSpPr>
              <p:nvPr/>
            </p:nvSpPr>
            <p:spPr bwMode="auto">
              <a:xfrm>
                <a:off x="9142661" y="4583227"/>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0" name="Freeform 87"/>
              <p:cNvSpPr>
                <a:spLocks noEditPoints="1"/>
              </p:cNvSpPr>
              <p:nvPr/>
            </p:nvSpPr>
            <p:spPr bwMode="auto">
              <a:xfrm>
                <a:off x="9258548" y="4578464"/>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1" name="Freeform 88"/>
              <p:cNvSpPr>
                <a:spLocks/>
              </p:cNvSpPr>
              <p:nvPr/>
            </p:nvSpPr>
            <p:spPr bwMode="auto">
              <a:xfrm>
                <a:off x="9452751" y="5423015"/>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2" name="Freeform 89"/>
              <p:cNvSpPr>
                <a:spLocks/>
              </p:cNvSpPr>
              <p:nvPr/>
            </p:nvSpPr>
            <p:spPr bwMode="auto">
              <a:xfrm>
                <a:off x="9452751" y="5149965"/>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3" name="Freeform 90"/>
              <p:cNvSpPr>
                <a:spLocks/>
              </p:cNvSpPr>
              <p:nvPr/>
            </p:nvSpPr>
            <p:spPr bwMode="auto">
              <a:xfrm>
                <a:off x="9452751" y="4868977"/>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4" name="Freeform 91"/>
              <p:cNvSpPr>
                <a:spLocks/>
              </p:cNvSpPr>
              <p:nvPr/>
            </p:nvSpPr>
            <p:spPr bwMode="auto">
              <a:xfrm>
                <a:off x="9605151" y="4868977"/>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6" name="Freeform 93"/>
              <p:cNvSpPr>
                <a:spLocks noEditPoints="1"/>
              </p:cNvSpPr>
              <p:nvPr/>
            </p:nvSpPr>
            <p:spPr bwMode="auto">
              <a:xfrm>
                <a:off x="9571814" y="5140440"/>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3" y="105"/>
                    </a:cubicBezTo>
                    <a:close/>
                    <a:moveTo>
                      <a:pt x="35" y="14"/>
                    </a:moveTo>
                    <a:cubicBezTo>
                      <a:pt x="23" y="14"/>
                      <a:pt x="17" y="27"/>
                      <a:pt x="17" y="54"/>
                    </a:cubicBezTo>
                    <a:cubicBezTo>
                      <a:pt x="17" y="79"/>
                      <a:pt x="23" y="92"/>
                      <a:pt x="35" y="92"/>
                    </a:cubicBezTo>
                    <a:cubicBezTo>
                      <a:pt x="47" y="92"/>
                      <a:pt x="52" y="79"/>
                      <a:pt x="52" y="53"/>
                    </a:cubicBezTo>
                    <a:cubicBezTo>
                      <a:pt x="52"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8" name="Freeform 95"/>
              <p:cNvSpPr>
                <a:spLocks/>
              </p:cNvSpPr>
              <p:nvPr/>
            </p:nvSpPr>
            <p:spPr bwMode="auto">
              <a:xfrm>
                <a:off x="9751201" y="5149965"/>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9" name="Freeform 96"/>
              <p:cNvSpPr>
                <a:spLocks/>
              </p:cNvSpPr>
              <p:nvPr/>
            </p:nvSpPr>
            <p:spPr bwMode="auto">
              <a:xfrm>
                <a:off x="9751201" y="4868977"/>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1" name="Freeform 98"/>
              <p:cNvSpPr>
                <a:spLocks noEditPoints="1"/>
              </p:cNvSpPr>
              <p:nvPr/>
            </p:nvSpPr>
            <p:spPr bwMode="auto">
              <a:xfrm>
                <a:off x="9868676" y="5140440"/>
                <a:ext cx="153987" cy="233363"/>
              </a:xfrm>
              <a:custGeom>
                <a:avLst/>
                <a:gdLst>
                  <a:gd name="T0" fmla="*/ 34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4 w 69"/>
                  <a:gd name="T15" fmla="*/ 105 h 105"/>
                  <a:gd name="T16" fmla="*/ 35 w 69"/>
                  <a:gd name="T17" fmla="*/ 14 h 105"/>
                  <a:gd name="T18" fmla="*/ 17 w 69"/>
                  <a:gd name="T19" fmla="*/ 54 h 105"/>
                  <a:gd name="T20" fmla="*/ 35 w 69"/>
                  <a:gd name="T21" fmla="*/ 92 h 105"/>
                  <a:gd name="T22" fmla="*/ 53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4"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4" y="105"/>
                    </a:cubicBezTo>
                    <a:close/>
                    <a:moveTo>
                      <a:pt x="35" y="14"/>
                    </a:moveTo>
                    <a:cubicBezTo>
                      <a:pt x="23" y="14"/>
                      <a:pt x="17" y="27"/>
                      <a:pt x="17" y="54"/>
                    </a:cubicBezTo>
                    <a:cubicBezTo>
                      <a:pt x="17" y="79"/>
                      <a:pt x="23" y="92"/>
                      <a:pt x="35" y="92"/>
                    </a:cubicBezTo>
                    <a:cubicBezTo>
                      <a:pt x="47" y="92"/>
                      <a:pt x="53" y="79"/>
                      <a:pt x="53" y="53"/>
                    </a:cubicBezTo>
                    <a:cubicBezTo>
                      <a:pt x="53"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2" name="Freeform 99"/>
              <p:cNvSpPr>
                <a:spLocks noEditPoints="1"/>
              </p:cNvSpPr>
              <p:nvPr/>
            </p:nvSpPr>
            <p:spPr bwMode="auto">
              <a:xfrm>
                <a:off x="9868676" y="4862627"/>
                <a:ext cx="153987" cy="231775"/>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3" name="Freeform 100"/>
              <p:cNvSpPr>
                <a:spLocks/>
              </p:cNvSpPr>
              <p:nvPr/>
            </p:nvSpPr>
            <p:spPr bwMode="auto">
              <a:xfrm>
                <a:off x="9452751" y="4584814"/>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4" name="Freeform 101"/>
              <p:cNvSpPr>
                <a:spLocks/>
              </p:cNvSpPr>
              <p:nvPr/>
            </p:nvSpPr>
            <p:spPr bwMode="auto">
              <a:xfrm>
                <a:off x="9605151" y="4584814"/>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5" name="Freeform 102"/>
              <p:cNvSpPr>
                <a:spLocks/>
              </p:cNvSpPr>
              <p:nvPr/>
            </p:nvSpPr>
            <p:spPr bwMode="auto">
              <a:xfrm>
                <a:off x="9751201" y="4584814"/>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6" name="Freeform 103"/>
              <p:cNvSpPr>
                <a:spLocks noEditPoints="1"/>
              </p:cNvSpPr>
              <p:nvPr/>
            </p:nvSpPr>
            <p:spPr bwMode="auto">
              <a:xfrm>
                <a:off x="9868676" y="4578464"/>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7" name="Freeform 84"/>
              <p:cNvSpPr>
                <a:spLocks/>
              </p:cNvSpPr>
              <p:nvPr/>
            </p:nvSpPr>
            <p:spPr bwMode="auto">
              <a:xfrm>
                <a:off x="8844211" y="4301709"/>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8" name="Freeform 85"/>
              <p:cNvSpPr>
                <a:spLocks noEditPoints="1"/>
              </p:cNvSpPr>
              <p:nvPr/>
            </p:nvSpPr>
            <p:spPr bwMode="auto">
              <a:xfrm>
                <a:off x="8960098" y="4296946"/>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9" name="Freeform 86"/>
              <p:cNvSpPr>
                <a:spLocks/>
              </p:cNvSpPr>
              <p:nvPr/>
            </p:nvSpPr>
            <p:spPr bwMode="auto">
              <a:xfrm>
                <a:off x="9142661" y="4301709"/>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0" name="Freeform 87"/>
              <p:cNvSpPr>
                <a:spLocks noEditPoints="1"/>
              </p:cNvSpPr>
              <p:nvPr/>
            </p:nvSpPr>
            <p:spPr bwMode="auto">
              <a:xfrm>
                <a:off x="9258548" y="4296946"/>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1" name="Freeform 100"/>
              <p:cNvSpPr>
                <a:spLocks/>
              </p:cNvSpPr>
              <p:nvPr/>
            </p:nvSpPr>
            <p:spPr bwMode="auto">
              <a:xfrm>
                <a:off x="9452751" y="4303296"/>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3" name="Freeform 102"/>
              <p:cNvSpPr>
                <a:spLocks/>
              </p:cNvSpPr>
              <p:nvPr/>
            </p:nvSpPr>
            <p:spPr bwMode="auto">
              <a:xfrm>
                <a:off x="9751201" y="4303296"/>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4" name="Freeform 103"/>
              <p:cNvSpPr>
                <a:spLocks noEditPoints="1"/>
              </p:cNvSpPr>
              <p:nvPr/>
            </p:nvSpPr>
            <p:spPr bwMode="auto">
              <a:xfrm>
                <a:off x="9868676" y="4296946"/>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5" name="Freeform 72"/>
              <p:cNvSpPr>
                <a:spLocks/>
              </p:cNvSpPr>
              <p:nvPr/>
            </p:nvSpPr>
            <p:spPr bwMode="auto">
              <a:xfrm>
                <a:off x="10063805" y="5423015"/>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6" name="Freeform 73"/>
              <p:cNvSpPr>
                <a:spLocks/>
              </p:cNvSpPr>
              <p:nvPr/>
            </p:nvSpPr>
            <p:spPr bwMode="auto">
              <a:xfrm>
                <a:off x="10063805" y="5149965"/>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7" name="Freeform 74"/>
              <p:cNvSpPr>
                <a:spLocks/>
              </p:cNvSpPr>
              <p:nvPr/>
            </p:nvSpPr>
            <p:spPr bwMode="auto">
              <a:xfrm>
                <a:off x="10063805" y="4868977"/>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8" name="Freeform 84"/>
              <p:cNvSpPr>
                <a:spLocks/>
              </p:cNvSpPr>
              <p:nvPr/>
            </p:nvSpPr>
            <p:spPr bwMode="auto">
              <a:xfrm>
                <a:off x="10062218" y="4583227"/>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9" name="Freeform 84"/>
              <p:cNvSpPr>
                <a:spLocks/>
              </p:cNvSpPr>
              <p:nvPr/>
            </p:nvSpPr>
            <p:spPr bwMode="auto">
              <a:xfrm>
                <a:off x="10062218" y="4301709"/>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0" name="Freeform 84"/>
              <p:cNvSpPr>
                <a:spLocks/>
              </p:cNvSpPr>
              <p:nvPr/>
            </p:nvSpPr>
            <p:spPr bwMode="auto">
              <a:xfrm>
                <a:off x="8833278" y="5699295"/>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1" name="Freeform 85"/>
              <p:cNvSpPr>
                <a:spLocks noEditPoints="1"/>
              </p:cNvSpPr>
              <p:nvPr/>
            </p:nvSpPr>
            <p:spPr bwMode="auto">
              <a:xfrm>
                <a:off x="8949165" y="5694532"/>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2" name="Freeform 86"/>
              <p:cNvSpPr>
                <a:spLocks/>
              </p:cNvSpPr>
              <p:nvPr/>
            </p:nvSpPr>
            <p:spPr bwMode="auto">
              <a:xfrm>
                <a:off x="9131728" y="5699295"/>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3" name="Freeform 87"/>
              <p:cNvSpPr>
                <a:spLocks noEditPoints="1"/>
              </p:cNvSpPr>
              <p:nvPr/>
            </p:nvSpPr>
            <p:spPr bwMode="auto">
              <a:xfrm>
                <a:off x="9247615" y="5694532"/>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4" name="Freeform 100"/>
              <p:cNvSpPr>
                <a:spLocks/>
              </p:cNvSpPr>
              <p:nvPr/>
            </p:nvSpPr>
            <p:spPr bwMode="auto">
              <a:xfrm>
                <a:off x="9441818" y="5700882"/>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5" name="Freeform 101"/>
              <p:cNvSpPr>
                <a:spLocks/>
              </p:cNvSpPr>
              <p:nvPr/>
            </p:nvSpPr>
            <p:spPr bwMode="auto">
              <a:xfrm>
                <a:off x="9594218" y="5700882"/>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6" name="Freeform 102"/>
              <p:cNvSpPr>
                <a:spLocks/>
              </p:cNvSpPr>
              <p:nvPr/>
            </p:nvSpPr>
            <p:spPr bwMode="auto">
              <a:xfrm>
                <a:off x="9740268" y="5700882"/>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7" name="Freeform 103"/>
              <p:cNvSpPr>
                <a:spLocks noEditPoints="1"/>
              </p:cNvSpPr>
              <p:nvPr/>
            </p:nvSpPr>
            <p:spPr bwMode="auto">
              <a:xfrm>
                <a:off x="9857743" y="5694532"/>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8" name="Freeform 84"/>
              <p:cNvSpPr>
                <a:spLocks/>
              </p:cNvSpPr>
              <p:nvPr/>
            </p:nvSpPr>
            <p:spPr bwMode="auto">
              <a:xfrm>
                <a:off x="10051285" y="5699295"/>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18" name="Group 117"/>
            <p:cNvGrpSpPr/>
            <p:nvPr/>
          </p:nvGrpSpPr>
          <p:grpSpPr>
            <a:xfrm>
              <a:off x="10554283" y="6274801"/>
              <a:ext cx="365760" cy="365760"/>
              <a:chOff x="608865" y="4536026"/>
              <a:chExt cx="329755" cy="329754"/>
            </a:xfrm>
            <a:solidFill>
              <a:schemeClr val="accent3"/>
            </a:solidFill>
          </p:grpSpPr>
          <p:sp>
            <p:nvSpPr>
              <p:cNvPr id="119" name="Donut 118"/>
              <p:cNvSpPr/>
              <p:nvPr/>
            </p:nvSpPr>
            <p:spPr bwMode="auto">
              <a:xfrm>
                <a:off x="608865" y="4536026"/>
                <a:ext cx="329755" cy="329754"/>
              </a:xfrm>
              <a:prstGeom prst="donut">
                <a:avLst>
                  <a:gd name="adj" fmla="val 7125"/>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20" name="Isosceles Triangle 119"/>
              <p:cNvSpPr/>
              <p:nvPr/>
            </p:nvSpPr>
            <p:spPr bwMode="auto">
              <a:xfrm rot="5400000">
                <a:off x="710175" y="4634663"/>
                <a:ext cx="153677" cy="132481"/>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15" name="Group 14"/>
            <p:cNvGrpSpPr/>
            <p:nvPr/>
          </p:nvGrpSpPr>
          <p:grpSpPr>
            <a:xfrm>
              <a:off x="10655238" y="4846289"/>
              <a:ext cx="411410" cy="669336"/>
              <a:chOff x="8361363" y="-330200"/>
              <a:chExt cx="719138" cy="1169988"/>
            </a:xfrm>
          </p:grpSpPr>
          <p:sp>
            <p:nvSpPr>
              <p:cNvPr id="11" name="Freeform 5"/>
              <p:cNvSpPr>
                <a:spLocks/>
              </p:cNvSpPr>
              <p:nvPr/>
            </p:nvSpPr>
            <p:spPr bwMode="auto">
              <a:xfrm>
                <a:off x="8497888" y="-330200"/>
                <a:ext cx="444500" cy="509588"/>
              </a:xfrm>
              <a:custGeom>
                <a:avLst/>
                <a:gdLst>
                  <a:gd name="T0" fmla="*/ 200 w 200"/>
                  <a:gd name="T1" fmla="*/ 229 h 229"/>
                  <a:gd name="T2" fmla="*/ 156 w 200"/>
                  <a:gd name="T3" fmla="*/ 229 h 229"/>
                  <a:gd name="T4" fmla="*/ 156 w 200"/>
                  <a:gd name="T5" fmla="*/ 100 h 229"/>
                  <a:gd name="T6" fmla="*/ 100 w 200"/>
                  <a:gd name="T7" fmla="*/ 44 h 229"/>
                  <a:gd name="T8" fmla="*/ 44 w 200"/>
                  <a:gd name="T9" fmla="*/ 100 h 229"/>
                  <a:gd name="T10" fmla="*/ 44 w 200"/>
                  <a:gd name="T11" fmla="*/ 229 h 229"/>
                  <a:gd name="T12" fmla="*/ 0 w 200"/>
                  <a:gd name="T13" fmla="*/ 229 h 229"/>
                  <a:gd name="T14" fmla="*/ 0 w 200"/>
                  <a:gd name="T15" fmla="*/ 100 h 229"/>
                  <a:gd name="T16" fmla="*/ 100 w 200"/>
                  <a:gd name="T17" fmla="*/ 0 h 229"/>
                  <a:gd name="T18" fmla="*/ 200 w 200"/>
                  <a:gd name="T19" fmla="*/ 100 h 229"/>
                  <a:gd name="T20" fmla="*/ 200 w 200"/>
                  <a:gd name="T21" fmla="*/ 229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0" h="229">
                    <a:moveTo>
                      <a:pt x="200" y="229"/>
                    </a:moveTo>
                    <a:cubicBezTo>
                      <a:pt x="156" y="229"/>
                      <a:pt x="156" y="229"/>
                      <a:pt x="156" y="229"/>
                    </a:cubicBezTo>
                    <a:cubicBezTo>
                      <a:pt x="156" y="100"/>
                      <a:pt x="156" y="100"/>
                      <a:pt x="156" y="100"/>
                    </a:cubicBezTo>
                    <a:cubicBezTo>
                      <a:pt x="156" y="69"/>
                      <a:pt x="131" y="44"/>
                      <a:pt x="100" y="44"/>
                    </a:cubicBezTo>
                    <a:cubicBezTo>
                      <a:pt x="69" y="44"/>
                      <a:pt x="44" y="69"/>
                      <a:pt x="44" y="100"/>
                    </a:cubicBezTo>
                    <a:cubicBezTo>
                      <a:pt x="44" y="229"/>
                      <a:pt x="44" y="229"/>
                      <a:pt x="44" y="229"/>
                    </a:cubicBezTo>
                    <a:cubicBezTo>
                      <a:pt x="0" y="229"/>
                      <a:pt x="0" y="229"/>
                      <a:pt x="0" y="229"/>
                    </a:cubicBezTo>
                    <a:cubicBezTo>
                      <a:pt x="0" y="100"/>
                      <a:pt x="0" y="100"/>
                      <a:pt x="0" y="100"/>
                    </a:cubicBezTo>
                    <a:cubicBezTo>
                      <a:pt x="0" y="45"/>
                      <a:pt x="45" y="0"/>
                      <a:pt x="100" y="0"/>
                    </a:cubicBezTo>
                    <a:cubicBezTo>
                      <a:pt x="155" y="0"/>
                      <a:pt x="200" y="45"/>
                      <a:pt x="200" y="100"/>
                    </a:cubicBezTo>
                    <a:lnTo>
                      <a:pt x="200" y="229"/>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Rectangle 6"/>
              <p:cNvSpPr>
                <a:spLocks noChangeArrowheads="1"/>
              </p:cNvSpPr>
              <p:nvPr/>
            </p:nvSpPr>
            <p:spPr bwMode="auto">
              <a:xfrm>
                <a:off x="8361363" y="161925"/>
                <a:ext cx="719138" cy="67786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Rectangle 7"/>
              <p:cNvSpPr>
                <a:spLocks noChangeArrowheads="1"/>
              </p:cNvSpPr>
              <p:nvPr/>
            </p:nvSpPr>
            <p:spPr bwMode="auto">
              <a:xfrm>
                <a:off x="8361363" y="161925"/>
                <a:ext cx="185738" cy="67786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 name="Freeform 8"/>
              <p:cNvSpPr>
                <a:spLocks/>
              </p:cNvSpPr>
              <p:nvPr/>
            </p:nvSpPr>
            <p:spPr bwMode="auto">
              <a:xfrm>
                <a:off x="8647113" y="379413"/>
                <a:ext cx="146050" cy="257175"/>
              </a:xfrm>
              <a:custGeom>
                <a:avLst/>
                <a:gdLst>
                  <a:gd name="T0" fmla="*/ 66 w 66"/>
                  <a:gd name="T1" fmla="*/ 33 h 116"/>
                  <a:gd name="T2" fmla="*/ 33 w 66"/>
                  <a:gd name="T3" fmla="*/ 0 h 116"/>
                  <a:gd name="T4" fmla="*/ 0 w 66"/>
                  <a:gd name="T5" fmla="*/ 33 h 116"/>
                  <a:gd name="T6" fmla="*/ 22 w 66"/>
                  <a:gd name="T7" fmla="*/ 64 h 116"/>
                  <a:gd name="T8" fmla="*/ 22 w 66"/>
                  <a:gd name="T9" fmla="*/ 116 h 116"/>
                  <a:gd name="T10" fmla="*/ 44 w 66"/>
                  <a:gd name="T11" fmla="*/ 116 h 116"/>
                  <a:gd name="T12" fmla="*/ 44 w 66"/>
                  <a:gd name="T13" fmla="*/ 64 h 116"/>
                  <a:gd name="T14" fmla="*/ 66 w 66"/>
                  <a:gd name="T15" fmla="*/ 33 h 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116">
                    <a:moveTo>
                      <a:pt x="66" y="33"/>
                    </a:moveTo>
                    <a:cubicBezTo>
                      <a:pt x="66" y="15"/>
                      <a:pt x="51" y="0"/>
                      <a:pt x="33" y="0"/>
                    </a:cubicBezTo>
                    <a:cubicBezTo>
                      <a:pt x="15" y="0"/>
                      <a:pt x="0" y="15"/>
                      <a:pt x="0" y="33"/>
                    </a:cubicBezTo>
                    <a:cubicBezTo>
                      <a:pt x="0" y="47"/>
                      <a:pt x="9" y="60"/>
                      <a:pt x="22" y="64"/>
                    </a:cubicBezTo>
                    <a:cubicBezTo>
                      <a:pt x="22" y="116"/>
                      <a:pt x="22" y="116"/>
                      <a:pt x="22" y="116"/>
                    </a:cubicBezTo>
                    <a:cubicBezTo>
                      <a:pt x="44" y="116"/>
                      <a:pt x="44" y="116"/>
                      <a:pt x="44" y="116"/>
                    </a:cubicBezTo>
                    <a:cubicBezTo>
                      <a:pt x="44" y="64"/>
                      <a:pt x="44" y="64"/>
                      <a:pt x="44" y="64"/>
                    </a:cubicBezTo>
                    <a:cubicBezTo>
                      <a:pt x="57" y="60"/>
                      <a:pt x="66" y="47"/>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pic>
          <p:nvPicPr>
            <p:cNvPr id="517" name="Picture 516"/>
            <p:cNvPicPr>
              <a:picLocks noChangeAspect="1"/>
            </p:cNvPicPr>
            <p:nvPr/>
          </p:nvPicPr>
          <p:blipFill>
            <a:blip r:embed="rId8"/>
            <a:stretch>
              <a:fillRect/>
            </a:stretch>
          </p:blipFill>
          <p:spPr>
            <a:xfrm>
              <a:off x="8652367" y="6070278"/>
              <a:ext cx="825812" cy="529659"/>
            </a:xfrm>
            <a:prstGeom prst="rect">
              <a:avLst/>
            </a:prstGeom>
          </p:spPr>
        </p:pic>
        <p:pic>
          <p:nvPicPr>
            <p:cNvPr id="521" name="Picture 520"/>
            <p:cNvPicPr>
              <a:picLocks noChangeAspect="1"/>
            </p:cNvPicPr>
            <p:nvPr/>
          </p:nvPicPr>
          <p:blipFill>
            <a:blip r:embed="rId9"/>
            <a:stretch>
              <a:fillRect/>
            </a:stretch>
          </p:blipFill>
          <p:spPr>
            <a:xfrm>
              <a:off x="8425215" y="3981839"/>
              <a:ext cx="467544" cy="880082"/>
            </a:xfrm>
            <a:prstGeom prst="rect">
              <a:avLst/>
            </a:prstGeom>
          </p:spPr>
        </p:pic>
        <p:grpSp>
          <p:nvGrpSpPr>
            <p:cNvPr id="25" name="Group 24"/>
            <p:cNvGrpSpPr/>
            <p:nvPr/>
          </p:nvGrpSpPr>
          <p:grpSpPr>
            <a:xfrm>
              <a:off x="9905781" y="4113554"/>
              <a:ext cx="599461" cy="1062972"/>
              <a:chOff x="-276225" y="620713"/>
              <a:chExt cx="889000" cy="1576387"/>
            </a:xfrm>
          </p:grpSpPr>
          <p:sp>
            <p:nvSpPr>
              <p:cNvPr id="19" name="Freeform 12"/>
              <p:cNvSpPr>
                <a:spLocks/>
              </p:cNvSpPr>
              <p:nvPr/>
            </p:nvSpPr>
            <p:spPr bwMode="auto">
              <a:xfrm>
                <a:off x="-276225" y="962025"/>
                <a:ext cx="889000" cy="1235075"/>
              </a:xfrm>
              <a:custGeom>
                <a:avLst/>
                <a:gdLst>
                  <a:gd name="T0" fmla="*/ 145 w 155"/>
                  <a:gd name="T1" fmla="*/ 177 h 217"/>
                  <a:gd name="T2" fmla="*/ 100 w 155"/>
                  <a:gd name="T3" fmla="*/ 91 h 217"/>
                  <a:gd name="T4" fmla="*/ 96 w 155"/>
                  <a:gd name="T5" fmla="*/ 76 h 217"/>
                  <a:gd name="T6" fmla="*/ 96 w 155"/>
                  <a:gd name="T7" fmla="*/ 0 h 217"/>
                  <a:gd name="T8" fmla="*/ 83 w 155"/>
                  <a:gd name="T9" fmla="*/ 0 h 217"/>
                  <a:gd name="T10" fmla="*/ 72 w 155"/>
                  <a:gd name="T11" fmla="*/ 0 h 217"/>
                  <a:gd name="T12" fmla="*/ 59 w 155"/>
                  <a:gd name="T13" fmla="*/ 0 h 217"/>
                  <a:gd name="T14" fmla="*/ 59 w 155"/>
                  <a:gd name="T15" fmla="*/ 76 h 217"/>
                  <a:gd name="T16" fmla="*/ 55 w 155"/>
                  <a:gd name="T17" fmla="*/ 91 h 217"/>
                  <a:gd name="T18" fmla="*/ 9 w 155"/>
                  <a:gd name="T19" fmla="*/ 177 h 217"/>
                  <a:gd name="T20" fmla="*/ 31 w 155"/>
                  <a:gd name="T21" fmla="*/ 217 h 217"/>
                  <a:gd name="T22" fmla="*/ 72 w 155"/>
                  <a:gd name="T23" fmla="*/ 217 h 217"/>
                  <a:gd name="T24" fmla="*/ 83 w 155"/>
                  <a:gd name="T25" fmla="*/ 217 h 217"/>
                  <a:gd name="T26" fmla="*/ 128 w 155"/>
                  <a:gd name="T27" fmla="*/ 217 h 217"/>
                  <a:gd name="T28" fmla="*/ 145 w 155"/>
                  <a:gd name="T29" fmla="*/ 17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217">
                    <a:moveTo>
                      <a:pt x="145" y="177"/>
                    </a:moveTo>
                    <a:cubicBezTo>
                      <a:pt x="134" y="157"/>
                      <a:pt x="100" y="91"/>
                      <a:pt x="100" y="91"/>
                    </a:cubicBezTo>
                    <a:cubicBezTo>
                      <a:pt x="100" y="91"/>
                      <a:pt x="96" y="86"/>
                      <a:pt x="96" y="76"/>
                    </a:cubicBezTo>
                    <a:cubicBezTo>
                      <a:pt x="96" y="65"/>
                      <a:pt x="96" y="0"/>
                      <a:pt x="96" y="0"/>
                    </a:cubicBezTo>
                    <a:cubicBezTo>
                      <a:pt x="83" y="0"/>
                      <a:pt x="83" y="0"/>
                      <a:pt x="83" y="0"/>
                    </a:cubicBezTo>
                    <a:cubicBezTo>
                      <a:pt x="72" y="0"/>
                      <a:pt x="72" y="0"/>
                      <a:pt x="72" y="0"/>
                    </a:cubicBezTo>
                    <a:cubicBezTo>
                      <a:pt x="59" y="0"/>
                      <a:pt x="59" y="0"/>
                      <a:pt x="59" y="0"/>
                    </a:cubicBezTo>
                    <a:cubicBezTo>
                      <a:pt x="59" y="0"/>
                      <a:pt x="59" y="67"/>
                      <a:pt x="59" y="76"/>
                    </a:cubicBezTo>
                    <a:cubicBezTo>
                      <a:pt x="59" y="85"/>
                      <a:pt x="55" y="91"/>
                      <a:pt x="55" y="91"/>
                    </a:cubicBezTo>
                    <a:cubicBezTo>
                      <a:pt x="55" y="91"/>
                      <a:pt x="21" y="157"/>
                      <a:pt x="9" y="177"/>
                    </a:cubicBezTo>
                    <a:cubicBezTo>
                      <a:pt x="0" y="194"/>
                      <a:pt x="14" y="217"/>
                      <a:pt x="31" y="217"/>
                    </a:cubicBezTo>
                    <a:cubicBezTo>
                      <a:pt x="72" y="217"/>
                      <a:pt x="72" y="217"/>
                      <a:pt x="72" y="217"/>
                    </a:cubicBezTo>
                    <a:cubicBezTo>
                      <a:pt x="83" y="217"/>
                      <a:pt x="83" y="217"/>
                      <a:pt x="83" y="217"/>
                    </a:cubicBezTo>
                    <a:cubicBezTo>
                      <a:pt x="128" y="217"/>
                      <a:pt x="128" y="217"/>
                      <a:pt x="128" y="217"/>
                    </a:cubicBezTo>
                    <a:cubicBezTo>
                      <a:pt x="143" y="217"/>
                      <a:pt x="155" y="194"/>
                      <a:pt x="145" y="177"/>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13"/>
              <p:cNvSpPr>
                <a:spLocks/>
              </p:cNvSpPr>
              <p:nvPr/>
            </p:nvSpPr>
            <p:spPr bwMode="auto">
              <a:xfrm>
                <a:off x="-276225" y="962025"/>
                <a:ext cx="889000" cy="1235075"/>
              </a:xfrm>
              <a:custGeom>
                <a:avLst/>
                <a:gdLst>
                  <a:gd name="T0" fmla="*/ 145 w 155"/>
                  <a:gd name="T1" fmla="*/ 177 h 217"/>
                  <a:gd name="T2" fmla="*/ 100 w 155"/>
                  <a:gd name="T3" fmla="*/ 91 h 217"/>
                  <a:gd name="T4" fmla="*/ 96 w 155"/>
                  <a:gd name="T5" fmla="*/ 76 h 217"/>
                  <a:gd name="T6" fmla="*/ 96 w 155"/>
                  <a:gd name="T7" fmla="*/ 0 h 217"/>
                  <a:gd name="T8" fmla="*/ 83 w 155"/>
                  <a:gd name="T9" fmla="*/ 0 h 217"/>
                  <a:gd name="T10" fmla="*/ 72 w 155"/>
                  <a:gd name="T11" fmla="*/ 0 h 217"/>
                  <a:gd name="T12" fmla="*/ 59 w 155"/>
                  <a:gd name="T13" fmla="*/ 0 h 217"/>
                  <a:gd name="T14" fmla="*/ 59 w 155"/>
                  <a:gd name="T15" fmla="*/ 76 h 217"/>
                  <a:gd name="T16" fmla="*/ 55 w 155"/>
                  <a:gd name="T17" fmla="*/ 91 h 217"/>
                  <a:gd name="T18" fmla="*/ 9 w 155"/>
                  <a:gd name="T19" fmla="*/ 177 h 217"/>
                  <a:gd name="T20" fmla="*/ 31 w 155"/>
                  <a:gd name="T21" fmla="*/ 217 h 217"/>
                  <a:gd name="T22" fmla="*/ 72 w 155"/>
                  <a:gd name="T23" fmla="*/ 217 h 217"/>
                  <a:gd name="T24" fmla="*/ 83 w 155"/>
                  <a:gd name="T25" fmla="*/ 217 h 217"/>
                  <a:gd name="T26" fmla="*/ 128 w 155"/>
                  <a:gd name="T27" fmla="*/ 217 h 217"/>
                  <a:gd name="T28" fmla="*/ 145 w 155"/>
                  <a:gd name="T29" fmla="*/ 17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217">
                    <a:moveTo>
                      <a:pt x="145" y="177"/>
                    </a:moveTo>
                    <a:cubicBezTo>
                      <a:pt x="134" y="157"/>
                      <a:pt x="100" y="91"/>
                      <a:pt x="100" y="91"/>
                    </a:cubicBezTo>
                    <a:cubicBezTo>
                      <a:pt x="100" y="91"/>
                      <a:pt x="96" y="86"/>
                      <a:pt x="96" y="76"/>
                    </a:cubicBezTo>
                    <a:cubicBezTo>
                      <a:pt x="96" y="65"/>
                      <a:pt x="96" y="0"/>
                      <a:pt x="96" y="0"/>
                    </a:cubicBezTo>
                    <a:cubicBezTo>
                      <a:pt x="83" y="0"/>
                      <a:pt x="83" y="0"/>
                      <a:pt x="83" y="0"/>
                    </a:cubicBezTo>
                    <a:cubicBezTo>
                      <a:pt x="72" y="0"/>
                      <a:pt x="72" y="0"/>
                      <a:pt x="72" y="0"/>
                    </a:cubicBezTo>
                    <a:cubicBezTo>
                      <a:pt x="59" y="0"/>
                      <a:pt x="59" y="0"/>
                      <a:pt x="59" y="0"/>
                    </a:cubicBezTo>
                    <a:cubicBezTo>
                      <a:pt x="59" y="0"/>
                      <a:pt x="59" y="67"/>
                      <a:pt x="59" y="76"/>
                    </a:cubicBezTo>
                    <a:cubicBezTo>
                      <a:pt x="59" y="85"/>
                      <a:pt x="55" y="91"/>
                      <a:pt x="55" y="91"/>
                    </a:cubicBezTo>
                    <a:cubicBezTo>
                      <a:pt x="55" y="91"/>
                      <a:pt x="21" y="157"/>
                      <a:pt x="9" y="177"/>
                    </a:cubicBezTo>
                    <a:cubicBezTo>
                      <a:pt x="0" y="194"/>
                      <a:pt x="14" y="217"/>
                      <a:pt x="31" y="217"/>
                    </a:cubicBezTo>
                    <a:cubicBezTo>
                      <a:pt x="72" y="217"/>
                      <a:pt x="72" y="217"/>
                      <a:pt x="72" y="217"/>
                    </a:cubicBezTo>
                    <a:cubicBezTo>
                      <a:pt x="83" y="217"/>
                      <a:pt x="83" y="217"/>
                      <a:pt x="83" y="217"/>
                    </a:cubicBezTo>
                    <a:cubicBezTo>
                      <a:pt x="128" y="217"/>
                      <a:pt x="128" y="217"/>
                      <a:pt x="128" y="217"/>
                    </a:cubicBezTo>
                    <a:cubicBezTo>
                      <a:pt x="143" y="217"/>
                      <a:pt x="155" y="194"/>
                      <a:pt x="145" y="177"/>
                    </a:cubicBez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14"/>
              <p:cNvSpPr>
                <a:spLocks/>
              </p:cNvSpPr>
              <p:nvPr/>
            </p:nvSpPr>
            <p:spPr bwMode="auto">
              <a:xfrm>
                <a:off x="-12700" y="889000"/>
                <a:ext cx="355600" cy="142875"/>
              </a:xfrm>
              <a:custGeom>
                <a:avLst/>
                <a:gdLst>
                  <a:gd name="T0" fmla="*/ 62 w 62"/>
                  <a:gd name="T1" fmla="*/ 12 h 25"/>
                  <a:gd name="T2" fmla="*/ 50 w 62"/>
                  <a:gd name="T3" fmla="*/ 25 h 25"/>
                  <a:gd name="T4" fmla="*/ 13 w 62"/>
                  <a:gd name="T5" fmla="*/ 25 h 25"/>
                  <a:gd name="T6" fmla="*/ 0 w 62"/>
                  <a:gd name="T7" fmla="*/ 12 h 25"/>
                  <a:gd name="T8" fmla="*/ 0 w 62"/>
                  <a:gd name="T9" fmla="*/ 12 h 25"/>
                  <a:gd name="T10" fmla="*/ 13 w 62"/>
                  <a:gd name="T11" fmla="*/ 0 h 25"/>
                  <a:gd name="T12" fmla="*/ 50 w 62"/>
                  <a:gd name="T13" fmla="*/ 0 h 25"/>
                  <a:gd name="T14" fmla="*/ 62 w 62"/>
                  <a:gd name="T15" fmla="*/ 12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2" h="25">
                    <a:moveTo>
                      <a:pt x="62" y="12"/>
                    </a:moveTo>
                    <a:cubicBezTo>
                      <a:pt x="62" y="19"/>
                      <a:pt x="57" y="25"/>
                      <a:pt x="50" y="25"/>
                    </a:cubicBezTo>
                    <a:cubicBezTo>
                      <a:pt x="13" y="25"/>
                      <a:pt x="13" y="25"/>
                      <a:pt x="13" y="25"/>
                    </a:cubicBezTo>
                    <a:cubicBezTo>
                      <a:pt x="6" y="25"/>
                      <a:pt x="0" y="19"/>
                      <a:pt x="0" y="12"/>
                    </a:cubicBezTo>
                    <a:cubicBezTo>
                      <a:pt x="0" y="12"/>
                      <a:pt x="0" y="12"/>
                      <a:pt x="0" y="12"/>
                    </a:cubicBezTo>
                    <a:cubicBezTo>
                      <a:pt x="0" y="5"/>
                      <a:pt x="6" y="0"/>
                      <a:pt x="13" y="0"/>
                    </a:cubicBezTo>
                    <a:cubicBezTo>
                      <a:pt x="50" y="0"/>
                      <a:pt x="50" y="0"/>
                      <a:pt x="50" y="0"/>
                    </a:cubicBezTo>
                    <a:cubicBezTo>
                      <a:pt x="57" y="0"/>
                      <a:pt x="62" y="5"/>
                      <a:pt x="62" y="12"/>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Freeform 15"/>
              <p:cNvSpPr>
                <a:spLocks noEditPoints="1"/>
              </p:cNvSpPr>
              <p:nvPr/>
            </p:nvSpPr>
            <p:spPr bwMode="auto">
              <a:xfrm>
                <a:off x="33338" y="1719263"/>
                <a:ext cx="166688" cy="165100"/>
              </a:xfrm>
              <a:custGeom>
                <a:avLst/>
                <a:gdLst>
                  <a:gd name="T0" fmla="*/ 15 w 29"/>
                  <a:gd name="T1" fmla="*/ 29 h 29"/>
                  <a:gd name="T2" fmla="*/ 0 w 29"/>
                  <a:gd name="T3" fmla="*/ 15 h 29"/>
                  <a:gd name="T4" fmla="*/ 15 w 29"/>
                  <a:gd name="T5" fmla="*/ 0 h 29"/>
                  <a:gd name="T6" fmla="*/ 29 w 29"/>
                  <a:gd name="T7" fmla="*/ 15 h 29"/>
                  <a:gd name="T8" fmla="*/ 15 w 29"/>
                  <a:gd name="T9" fmla="*/ 29 h 29"/>
                  <a:gd name="T10" fmla="*/ 15 w 29"/>
                  <a:gd name="T11" fmla="*/ 3 h 29"/>
                  <a:gd name="T12" fmla="*/ 3 w 29"/>
                  <a:gd name="T13" fmla="*/ 15 h 29"/>
                  <a:gd name="T14" fmla="*/ 15 w 29"/>
                  <a:gd name="T15" fmla="*/ 27 h 29"/>
                  <a:gd name="T16" fmla="*/ 27 w 29"/>
                  <a:gd name="T17" fmla="*/ 15 h 29"/>
                  <a:gd name="T18" fmla="*/ 15 w 29"/>
                  <a:gd name="T19" fmla="*/ 3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15" y="29"/>
                    </a:moveTo>
                    <a:cubicBezTo>
                      <a:pt x="6" y="29"/>
                      <a:pt x="0" y="23"/>
                      <a:pt x="0" y="15"/>
                    </a:cubicBezTo>
                    <a:cubicBezTo>
                      <a:pt x="0" y="6"/>
                      <a:pt x="6" y="0"/>
                      <a:pt x="15" y="0"/>
                    </a:cubicBezTo>
                    <a:cubicBezTo>
                      <a:pt x="23" y="0"/>
                      <a:pt x="29" y="6"/>
                      <a:pt x="29" y="15"/>
                    </a:cubicBezTo>
                    <a:cubicBezTo>
                      <a:pt x="29" y="23"/>
                      <a:pt x="23" y="29"/>
                      <a:pt x="15" y="29"/>
                    </a:cubicBezTo>
                    <a:close/>
                    <a:moveTo>
                      <a:pt x="15" y="3"/>
                    </a:moveTo>
                    <a:cubicBezTo>
                      <a:pt x="8" y="3"/>
                      <a:pt x="3" y="8"/>
                      <a:pt x="3" y="15"/>
                    </a:cubicBezTo>
                    <a:cubicBezTo>
                      <a:pt x="3" y="21"/>
                      <a:pt x="8" y="27"/>
                      <a:pt x="15" y="27"/>
                    </a:cubicBezTo>
                    <a:cubicBezTo>
                      <a:pt x="21" y="27"/>
                      <a:pt x="27" y="21"/>
                      <a:pt x="27" y="15"/>
                    </a:cubicBezTo>
                    <a:cubicBezTo>
                      <a:pt x="27" y="8"/>
                      <a:pt x="21" y="3"/>
                      <a:pt x="15"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 name="Oval 16"/>
              <p:cNvSpPr>
                <a:spLocks noChangeArrowheads="1"/>
              </p:cNvSpPr>
              <p:nvPr/>
            </p:nvSpPr>
            <p:spPr bwMode="auto">
              <a:xfrm>
                <a:off x="96838" y="1793875"/>
                <a:ext cx="195263" cy="1936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Oval 17"/>
              <p:cNvSpPr>
                <a:spLocks noChangeArrowheads="1"/>
              </p:cNvSpPr>
              <p:nvPr/>
            </p:nvSpPr>
            <p:spPr bwMode="auto">
              <a:xfrm>
                <a:off x="-46038" y="620713"/>
                <a:ext cx="147638" cy="149225"/>
              </a:xfrm>
              <a:prstGeom prst="ellipse">
                <a:avLst/>
              </a:pr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15" name="Group 114"/>
            <p:cNvGrpSpPr/>
            <p:nvPr/>
          </p:nvGrpSpPr>
          <p:grpSpPr>
            <a:xfrm>
              <a:off x="8688700" y="4616200"/>
              <a:ext cx="746525" cy="504818"/>
              <a:chOff x="1136650" y="2795504"/>
              <a:chExt cx="1171576" cy="792247"/>
            </a:xfrm>
          </p:grpSpPr>
          <p:grpSp>
            <p:nvGrpSpPr>
              <p:cNvPr id="137" name="Group 136"/>
              <p:cNvGrpSpPr/>
              <p:nvPr/>
            </p:nvGrpSpPr>
            <p:grpSpPr>
              <a:xfrm>
                <a:off x="1489075" y="2795504"/>
                <a:ext cx="481013" cy="438150"/>
                <a:chOff x="1520825" y="2871788"/>
                <a:chExt cx="481013" cy="438150"/>
              </a:xfrm>
            </p:grpSpPr>
            <p:sp>
              <p:nvSpPr>
                <p:cNvPr id="144" name="Rectangle 193"/>
                <p:cNvSpPr>
                  <a:spLocks noChangeArrowheads="1"/>
                </p:cNvSpPr>
                <p:nvPr/>
              </p:nvSpPr>
              <p:spPr bwMode="auto">
                <a:xfrm>
                  <a:off x="1520825" y="3108325"/>
                  <a:ext cx="90488" cy="201613"/>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5" name="Rectangle 194"/>
                <p:cNvSpPr>
                  <a:spLocks noChangeArrowheads="1"/>
                </p:cNvSpPr>
                <p:nvPr/>
              </p:nvSpPr>
              <p:spPr bwMode="auto">
                <a:xfrm>
                  <a:off x="1781175" y="3048000"/>
                  <a:ext cx="88900" cy="261938"/>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6" name="Rectangle 195"/>
                <p:cNvSpPr>
                  <a:spLocks noChangeArrowheads="1"/>
                </p:cNvSpPr>
                <p:nvPr/>
              </p:nvSpPr>
              <p:spPr bwMode="auto">
                <a:xfrm>
                  <a:off x="1909763" y="2871788"/>
                  <a:ext cx="92075" cy="43815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7" name="Rectangle 196"/>
                <p:cNvSpPr>
                  <a:spLocks noChangeArrowheads="1"/>
                </p:cNvSpPr>
                <p:nvPr/>
              </p:nvSpPr>
              <p:spPr bwMode="auto">
                <a:xfrm>
                  <a:off x="1652588" y="3014663"/>
                  <a:ext cx="88900" cy="295275"/>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38" name="Freeform 200"/>
              <p:cNvSpPr>
                <a:spLocks/>
              </p:cNvSpPr>
              <p:nvPr/>
            </p:nvSpPr>
            <p:spPr bwMode="auto">
              <a:xfrm>
                <a:off x="1136650" y="3122613"/>
                <a:ext cx="130175" cy="292100"/>
              </a:xfrm>
              <a:custGeom>
                <a:avLst/>
                <a:gdLst>
                  <a:gd name="T0" fmla="*/ 82 w 82"/>
                  <a:gd name="T1" fmla="*/ 177 h 184"/>
                  <a:gd name="T2" fmla="*/ 18 w 82"/>
                  <a:gd name="T3" fmla="*/ 184 h 184"/>
                  <a:gd name="T4" fmla="*/ 0 w 82"/>
                  <a:gd name="T5" fmla="*/ 6 h 184"/>
                  <a:gd name="T6" fmla="*/ 64 w 82"/>
                  <a:gd name="T7" fmla="*/ 0 h 184"/>
                  <a:gd name="T8" fmla="*/ 82 w 82"/>
                  <a:gd name="T9" fmla="*/ 177 h 184"/>
                </a:gdLst>
                <a:ahLst/>
                <a:cxnLst>
                  <a:cxn ang="0">
                    <a:pos x="T0" y="T1"/>
                  </a:cxn>
                  <a:cxn ang="0">
                    <a:pos x="T2" y="T3"/>
                  </a:cxn>
                  <a:cxn ang="0">
                    <a:pos x="T4" y="T5"/>
                  </a:cxn>
                  <a:cxn ang="0">
                    <a:pos x="T6" y="T7"/>
                  </a:cxn>
                  <a:cxn ang="0">
                    <a:pos x="T8" y="T9"/>
                  </a:cxn>
                </a:cxnLst>
                <a:rect l="0" t="0" r="r" b="b"/>
                <a:pathLst>
                  <a:path w="82" h="184">
                    <a:moveTo>
                      <a:pt x="82" y="177"/>
                    </a:moveTo>
                    <a:lnTo>
                      <a:pt x="18" y="184"/>
                    </a:lnTo>
                    <a:lnTo>
                      <a:pt x="0" y="6"/>
                    </a:lnTo>
                    <a:lnTo>
                      <a:pt x="64" y="0"/>
                    </a:lnTo>
                    <a:lnTo>
                      <a:pt x="82" y="177"/>
                    </a:lnTo>
                    <a:close/>
                  </a:path>
                </a:pathLst>
              </a:cu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9" name="Freeform 201"/>
              <p:cNvSpPr>
                <a:spLocks/>
              </p:cNvSpPr>
              <p:nvPr/>
            </p:nvSpPr>
            <p:spPr bwMode="auto">
              <a:xfrm>
                <a:off x="2173288" y="3121025"/>
                <a:ext cx="134938" cy="293688"/>
              </a:xfrm>
              <a:custGeom>
                <a:avLst/>
                <a:gdLst>
                  <a:gd name="T0" fmla="*/ 62 w 85"/>
                  <a:gd name="T1" fmla="*/ 185 h 185"/>
                  <a:gd name="T2" fmla="*/ 0 w 85"/>
                  <a:gd name="T3" fmla="*/ 176 h 185"/>
                  <a:gd name="T4" fmla="*/ 21 w 85"/>
                  <a:gd name="T5" fmla="*/ 0 h 185"/>
                  <a:gd name="T6" fmla="*/ 85 w 85"/>
                  <a:gd name="T7" fmla="*/ 8 h 185"/>
                  <a:gd name="T8" fmla="*/ 62 w 85"/>
                  <a:gd name="T9" fmla="*/ 185 h 185"/>
                </a:gdLst>
                <a:ahLst/>
                <a:cxnLst>
                  <a:cxn ang="0">
                    <a:pos x="T0" y="T1"/>
                  </a:cxn>
                  <a:cxn ang="0">
                    <a:pos x="T2" y="T3"/>
                  </a:cxn>
                  <a:cxn ang="0">
                    <a:pos x="T4" y="T5"/>
                  </a:cxn>
                  <a:cxn ang="0">
                    <a:pos x="T6" y="T7"/>
                  </a:cxn>
                  <a:cxn ang="0">
                    <a:pos x="T8" y="T9"/>
                  </a:cxn>
                </a:cxnLst>
                <a:rect l="0" t="0" r="r" b="b"/>
                <a:pathLst>
                  <a:path w="85" h="185">
                    <a:moveTo>
                      <a:pt x="62" y="185"/>
                    </a:moveTo>
                    <a:lnTo>
                      <a:pt x="0" y="176"/>
                    </a:lnTo>
                    <a:lnTo>
                      <a:pt x="21" y="0"/>
                    </a:lnTo>
                    <a:lnTo>
                      <a:pt x="85" y="8"/>
                    </a:lnTo>
                    <a:lnTo>
                      <a:pt x="62" y="185"/>
                    </a:lnTo>
                    <a:close/>
                  </a:path>
                </a:pathLst>
              </a:cu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0" name="Freeform 202"/>
              <p:cNvSpPr>
                <a:spLocks/>
              </p:cNvSpPr>
              <p:nvPr/>
            </p:nvSpPr>
            <p:spPr bwMode="auto">
              <a:xfrm>
                <a:off x="1222375" y="2919413"/>
                <a:ext cx="260350" cy="668338"/>
              </a:xfrm>
              <a:custGeom>
                <a:avLst/>
                <a:gdLst>
                  <a:gd name="T0" fmla="*/ 90 w 92"/>
                  <a:gd name="T1" fmla="*/ 206 h 236"/>
                  <a:gd name="T2" fmla="*/ 69 w 92"/>
                  <a:gd name="T3" fmla="*/ 232 h 236"/>
                  <a:gd name="T4" fmla="*/ 46 w 92"/>
                  <a:gd name="T5" fmla="*/ 234 h 236"/>
                  <a:gd name="T6" fmla="*/ 20 w 92"/>
                  <a:gd name="T7" fmla="*/ 213 h 236"/>
                  <a:gd name="T8" fmla="*/ 2 w 92"/>
                  <a:gd name="T9" fmla="*/ 30 h 236"/>
                  <a:gd name="T10" fmla="*/ 23 w 92"/>
                  <a:gd name="T11" fmla="*/ 4 h 236"/>
                  <a:gd name="T12" fmla="*/ 46 w 92"/>
                  <a:gd name="T13" fmla="*/ 1 h 236"/>
                  <a:gd name="T14" fmla="*/ 72 w 92"/>
                  <a:gd name="T15" fmla="*/ 23 h 236"/>
                  <a:gd name="T16" fmla="*/ 90 w 92"/>
                  <a:gd name="T17" fmla="*/ 206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236">
                    <a:moveTo>
                      <a:pt x="90" y="206"/>
                    </a:moveTo>
                    <a:cubicBezTo>
                      <a:pt x="92" y="219"/>
                      <a:pt x="82" y="231"/>
                      <a:pt x="69" y="232"/>
                    </a:cubicBezTo>
                    <a:cubicBezTo>
                      <a:pt x="46" y="234"/>
                      <a:pt x="46" y="234"/>
                      <a:pt x="46" y="234"/>
                    </a:cubicBezTo>
                    <a:cubicBezTo>
                      <a:pt x="33" y="236"/>
                      <a:pt x="21" y="226"/>
                      <a:pt x="20" y="213"/>
                    </a:cubicBezTo>
                    <a:cubicBezTo>
                      <a:pt x="2" y="30"/>
                      <a:pt x="2" y="30"/>
                      <a:pt x="2" y="30"/>
                    </a:cubicBezTo>
                    <a:cubicBezTo>
                      <a:pt x="0" y="17"/>
                      <a:pt x="10" y="5"/>
                      <a:pt x="23" y="4"/>
                    </a:cubicBezTo>
                    <a:cubicBezTo>
                      <a:pt x="46" y="1"/>
                      <a:pt x="46" y="1"/>
                      <a:pt x="46" y="1"/>
                    </a:cubicBezTo>
                    <a:cubicBezTo>
                      <a:pt x="59" y="0"/>
                      <a:pt x="71" y="10"/>
                      <a:pt x="72" y="23"/>
                    </a:cubicBezTo>
                    <a:lnTo>
                      <a:pt x="90" y="206"/>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1" name="Freeform 203"/>
              <p:cNvSpPr>
                <a:spLocks/>
              </p:cNvSpPr>
              <p:nvPr/>
            </p:nvSpPr>
            <p:spPr bwMode="auto">
              <a:xfrm>
                <a:off x="1952625" y="2913063"/>
                <a:ext cx="274638" cy="668338"/>
              </a:xfrm>
              <a:custGeom>
                <a:avLst/>
                <a:gdLst>
                  <a:gd name="T0" fmla="*/ 72 w 97"/>
                  <a:gd name="T1" fmla="*/ 214 h 236"/>
                  <a:gd name="T2" fmla="*/ 45 w 97"/>
                  <a:gd name="T3" fmla="*/ 235 h 236"/>
                  <a:gd name="T4" fmla="*/ 22 w 97"/>
                  <a:gd name="T5" fmla="*/ 232 h 236"/>
                  <a:gd name="T6" fmla="*/ 2 w 97"/>
                  <a:gd name="T7" fmla="*/ 205 h 236"/>
                  <a:gd name="T8" fmla="*/ 26 w 97"/>
                  <a:gd name="T9" fmla="*/ 22 h 236"/>
                  <a:gd name="T10" fmla="*/ 52 w 97"/>
                  <a:gd name="T11" fmla="*/ 2 h 236"/>
                  <a:gd name="T12" fmla="*/ 75 w 97"/>
                  <a:gd name="T13" fmla="*/ 5 h 236"/>
                  <a:gd name="T14" fmla="*/ 96 w 97"/>
                  <a:gd name="T15" fmla="*/ 31 h 236"/>
                  <a:gd name="T16" fmla="*/ 72 w 97"/>
                  <a:gd name="T17" fmla="*/ 21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236">
                    <a:moveTo>
                      <a:pt x="72" y="214"/>
                    </a:moveTo>
                    <a:cubicBezTo>
                      <a:pt x="70" y="227"/>
                      <a:pt x="58" y="236"/>
                      <a:pt x="45" y="235"/>
                    </a:cubicBezTo>
                    <a:cubicBezTo>
                      <a:pt x="22" y="232"/>
                      <a:pt x="22" y="232"/>
                      <a:pt x="22" y="232"/>
                    </a:cubicBezTo>
                    <a:cubicBezTo>
                      <a:pt x="9" y="230"/>
                      <a:pt x="0" y="218"/>
                      <a:pt x="2" y="205"/>
                    </a:cubicBezTo>
                    <a:cubicBezTo>
                      <a:pt x="26" y="22"/>
                      <a:pt x="26" y="22"/>
                      <a:pt x="26" y="22"/>
                    </a:cubicBezTo>
                    <a:cubicBezTo>
                      <a:pt x="27" y="9"/>
                      <a:pt x="39" y="0"/>
                      <a:pt x="52" y="2"/>
                    </a:cubicBezTo>
                    <a:cubicBezTo>
                      <a:pt x="75" y="5"/>
                      <a:pt x="75" y="5"/>
                      <a:pt x="75" y="5"/>
                    </a:cubicBezTo>
                    <a:cubicBezTo>
                      <a:pt x="88" y="6"/>
                      <a:pt x="97" y="18"/>
                      <a:pt x="96" y="31"/>
                    </a:cubicBezTo>
                    <a:lnTo>
                      <a:pt x="72" y="21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6" name="Group 20"/>
            <p:cNvGrpSpPr>
              <a:grpSpLocks noChangeAspect="1"/>
            </p:cNvGrpSpPr>
            <p:nvPr/>
          </p:nvGrpSpPr>
          <p:grpSpPr bwMode="auto">
            <a:xfrm>
              <a:off x="10018678" y="5550106"/>
              <a:ext cx="550109" cy="748984"/>
              <a:chOff x="-1629" y="917"/>
              <a:chExt cx="816" cy="1111"/>
            </a:xfrm>
          </p:grpSpPr>
          <p:sp>
            <p:nvSpPr>
              <p:cNvPr id="27" name="AutoShape 19"/>
              <p:cNvSpPr>
                <a:spLocks noChangeAspect="1" noChangeArrowheads="1" noTextEdit="1"/>
              </p:cNvSpPr>
              <p:nvPr/>
            </p:nvSpPr>
            <p:spPr bwMode="auto">
              <a:xfrm>
                <a:off x="-1629" y="917"/>
                <a:ext cx="816" cy="1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Freeform 21"/>
              <p:cNvSpPr>
                <a:spLocks/>
              </p:cNvSpPr>
              <p:nvPr/>
            </p:nvSpPr>
            <p:spPr bwMode="auto">
              <a:xfrm>
                <a:off x="-1573" y="917"/>
                <a:ext cx="722" cy="954"/>
              </a:xfrm>
              <a:custGeom>
                <a:avLst/>
                <a:gdLst>
                  <a:gd name="T0" fmla="*/ 417 w 417"/>
                  <a:gd name="T1" fmla="*/ 208 h 551"/>
                  <a:gd name="T2" fmla="*/ 208 w 417"/>
                  <a:gd name="T3" fmla="*/ 0 h 551"/>
                  <a:gd name="T4" fmla="*/ 0 w 417"/>
                  <a:gd name="T5" fmla="*/ 208 h 551"/>
                  <a:gd name="T6" fmla="*/ 92 w 417"/>
                  <a:gd name="T7" fmla="*/ 381 h 551"/>
                  <a:gd name="T8" fmla="*/ 137 w 417"/>
                  <a:gd name="T9" fmla="*/ 522 h 551"/>
                  <a:gd name="T10" fmla="*/ 208 w 417"/>
                  <a:gd name="T11" fmla="*/ 551 h 551"/>
                  <a:gd name="T12" fmla="*/ 208 w 417"/>
                  <a:gd name="T13" fmla="*/ 551 h 551"/>
                  <a:gd name="T14" fmla="*/ 208 w 417"/>
                  <a:gd name="T15" fmla="*/ 551 h 551"/>
                  <a:gd name="T16" fmla="*/ 208 w 417"/>
                  <a:gd name="T17" fmla="*/ 551 h 551"/>
                  <a:gd name="T18" fmla="*/ 208 w 417"/>
                  <a:gd name="T19" fmla="*/ 551 h 551"/>
                  <a:gd name="T20" fmla="*/ 279 w 417"/>
                  <a:gd name="T21" fmla="*/ 522 h 551"/>
                  <a:gd name="T22" fmla="*/ 280 w 417"/>
                  <a:gd name="T23" fmla="*/ 522 h 551"/>
                  <a:gd name="T24" fmla="*/ 280 w 417"/>
                  <a:gd name="T25" fmla="*/ 511 h 551"/>
                  <a:gd name="T26" fmla="*/ 324 w 417"/>
                  <a:gd name="T27" fmla="*/ 381 h 551"/>
                  <a:gd name="T28" fmla="*/ 417 w 417"/>
                  <a:gd name="T29" fmla="*/ 208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7" h="551">
                    <a:moveTo>
                      <a:pt x="417" y="208"/>
                    </a:moveTo>
                    <a:cubicBezTo>
                      <a:pt x="417" y="93"/>
                      <a:pt x="323" y="0"/>
                      <a:pt x="208" y="0"/>
                    </a:cubicBezTo>
                    <a:cubicBezTo>
                      <a:pt x="94" y="0"/>
                      <a:pt x="0" y="93"/>
                      <a:pt x="0" y="208"/>
                    </a:cubicBezTo>
                    <a:cubicBezTo>
                      <a:pt x="0" y="280"/>
                      <a:pt x="37" y="344"/>
                      <a:pt x="92" y="381"/>
                    </a:cubicBezTo>
                    <a:cubicBezTo>
                      <a:pt x="92" y="381"/>
                      <a:pt x="137" y="416"/>
                      <a:pt x="137" y="522"/>
                    </a:cubicBezTo>
                    <a:cubicBezTo>
                      <a:pt x="208" y="551"/>
                      <a:pt x="208" y="551"/>
                      <a:pt x="208" y="551"/>
                    </a:cubicBezTo>
                    <a:cubicBezTo>
                      <a:pt x="208" y="551"/>
                      <a:pt x="208" y="551"/>
                      <a:pt x="208" y="551"/>
                    </a:cubicBezTo>
                    <a:cubicBezTo>
                      <a:pt x="208" y="551"/>
                      <a:pt x="208" y="551"/>
                      <a:pt x="208" y="551"/>
                    </a:cubicBezTo>
                    <a:cubicBezTo>
                      <a:pt x="208" y="551"/>
                      <a:pt x="208" y="551"/>
                      <a:pt x="208" y="551"/>
                    </a:cubicBezTo>
                    <a:cubicBezTo>
                      <a:pt x="208" y="551"/>
                      <a:pt x="208" y="551"/>
                      <a:pt x="208" y="551"/>
                    </a:cubicBezTo>
                    <a:cubicBezTo>
                      <a:pt x="279" y="522"/>
                      <a:pt x="279" y="522"/>
                      <a:pt x="279" y="522"/>
                    </a:cubicBezTo>
                    <a:cubicBezTo>
                      <a:pt x="280" y="522"/>
                      <a:pt x="280" y="522"/>
                      <a:pt x="280" y="522"/>
                    </a:cubicBezTo>
                    <a:cubicBezTo>
                      <a:pt x="280" y="511"/>
                      <a:pt x="280" y="511"/>
                      <a:pt x="280" y="511"/>
                    </a:cubicBezTo>
                    <a:cubicBezTo>
                      <a:pt x="282" y="420"/>
                      <a:pt x="319" y="385"/>
                      <a:pt x="324" y="381"/>
                    </a:cubicBezTo>
                    <a:cubicBezTo>
                      <a:pt x="380" y="344"/>
                      <a:pt x="417" y="281"/>
                      <a:pt x="417" y="208"/>
                    </a:cubicBezTo>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 name="Rectangle 23"/>
              <p:cNvSpPr>
                <a:spLocks noChangeArrowheads="1"/>
              </p:cNvSpPr>
              <p:nvPr/>
            </p:nvSpPr>
            <p:spPr bwMode="auto">
              <a:xfrm>
                <a:off x="-1336" y="1820"/>
                <a:ext cx="248" cy="165"/>
              </a:xfrm>
              <a:prstGeom prst="rect">
                <a:avLst/>
              </a:prstGeom>
              <a:solidFill>
                <a:srgbClr val="4A4D4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4"/>
              <p:cNvSpPr>
                <a:spLocks noChangeShapeType="1"/>
              </p:cNvSpPr>
              <p:nvPr/>
            </p:nvSpPr>
            <p:spPr bwMode="auto">
              <a:xfrm>
                <a:off x="-1336" y="1881"/>
                <a:ext cx="248" cy="0"/>
              </a:xfrm>
              <a:prstGeom prst="line">
                <a:avLst/>
              </a:prstGeom>
              <a:noFill/>
              <a:ln w="34925"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5"/>
              <p:cNvSpPr>
                <a:spLocks noChangeShapeType="1"/>
              </p:cNvSpPr>
              <p:nvPr/>
            </p:nvSpPr>
            <p:spPr bwMode="auto">
              <a:xfrm>
                <a:off x="-1336" y="1931"/>
                <a:ext cx="248" cy="0"/>
              </a:xfrm>
              <a:prstGeom prst="line">
                <a:avLst/>
              </a:prstGeom>
              <a:noFill/>
              <a:ln w="34925"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 name="Freeform 26"/>
              <p:cNvSpPr>
                <a:spLocks/>
              </p:cNvSpPr>
              <p:nvPr/>
            </p:nvSpPr>
            <p:spPr bwMode="auto">
              <a:xfrm>
                <a:off x="-1277" y="1985"/>
                <a:ext cx="128" cy="43"/>
              </a:xfrm>
              <a:custGeom>
                <a:avLst/>
                <a:gdLst>
                  <a:gd name="T0" fmla="*/ 0 w 128"/>
                  <a:gd name="T1" fmla="*/ 0 h 43"/>
                  <a:gd name="T2" fmla="*/ 20 w 128"/>
                  <a:gd name="T3" fmla="*/ 43 h 43"/>
                  <a:gd name="T4" fmla="*/ 109 w 128"/>
                  <a:gd name="T5" fmla="*/ 43 h 43"/>
                  <a:gd name="T6" fmla="*/ 128 w 128"/>
                  <a:gd name="T7" fmla="*/ 0 h 43"/>
                  <a:gd name="T8" fmla="*/ 0 w 128"/>
                  <a:gd name="T9" fmla="*/ 0 h 43"/>
                </a:gdLst>
                <a:ahLst/>
                <a:cxnLst>
                  <a:cxn ang="0">
                    <a:pos x="T0" y="T1"/>
                  </a:cxn>
                  <a:cxn ang="0">
                    <a:pos x="T2" y="T3"/>
                  </a:cxn>
                  <a:cxn ang="0">
                    <a:pos x="T4" y="T5"/>
                  </a:cxn>
                  <a:cxn ang="0">
                    <a:pos x="T6" y="T7"/>
                  </a:cxn>
                  <a:cxn ang="0">
                    <a:pos x="T8" y="T9"/>
                  </a:cxn>
                </a:cxnLst>
                <a:rect l="0" t="0" r="r" b="b"/>
                <a:pathLst>
                  <a:path w="128" h="43">
                    <a:moveTo>
                      <a:pt x="0" y="0"/>
                    </a:moveTo>
                    <a:lnTo>
                      <a:pt x="20" y="43"/>
                    </a:lnTo>
                    <a:lnTo>
                      <a:pt x="109" y="43"/>
                    </a:lnTo>
                    <a:lnTo>
                      <a:pt x="128"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43" name="Group 42"/>
            <p:cNvGrpSpPr/>
            <p:nvPr/>
          </p:nvGrpSpPr>
          <p:grpSpPr>
            <a:xfrm>
              <a:off x="10422101" y="3969272"/>
              <a:ext cx="611053" cy="585008"/>
              <a:chOff x="7072497" y="872254"/>
              <a:chExt cx="968375" cy="927100"/>
            </a:xfrm>
          </p:grpSpPr>
          <p:sp>
            <p:nvSpPr>
              <p:cNvPr id="39" name="Freeform 31"/>
              <p:cNvSpPr>
                <a:spLocks noEditPoints="1"/>
              </p:cNvSpPr>
              <p:nvPr/>
            </p:nvSpPr>
            <p:spPr bwMode="auto">
              <a:xfrm>
                <a:off x="7072497" y="872254"/>
                <a:ext cx="968375" cy="927100"/>
              </a:xfrm>
              <a:custGeom>
                <a:avLst/>
                <a:gdLst>
                  <a:gd name="T0" fmla="*/ 74 w 149"/>
                  <a:gd name="T1" fmla="*/ 143 h 143"/>
                  <a:gd name="T2" fmla="*/ 73 w 149"/>
                  <a:gd name="T3" fmla="*/ 142 h 143"/>
                  <a:gd name="T4" fmla="*/ 18 w 149"/>
                  <a:gd name="T5" fmla="*/ 9 h 143"/>
                  <a:gd name="T6" fmla="*/ 20 w 149"/>
                  <a:gd name="T7" fmla="*/ 7 h 143"/>
                  <a:gd name="T8" fmla="*/ 23 w 149"/>
                  <a:gd name="T9" fmla="*/ 7 h 143"/>
                  <a:gd name="T10" fmla="*/ 46 w 149"/>
                  <a:gd name="T11" fmla="*/ 14 h 143"/>
                  <a:gd name="T12" fmla="*/ 69 w 149"/>
                  <a:gd name="T13" fmla="*/ 3 h 143"/>
                  <a:gd name="T14" fmla="*/ 72 w 149"/>
                  <a:gd name="T15" fmla="*/ 1 h 143"/>
                  <a:gd name="T16" fmla="*/ 77 w 149"/>
                  <a:gd name="T17" fmla="*/ 1 h 143"/>
                  <a:gd name="T18" fmla="*/ 80 w 149"/>
                  <a:gd name="T19" fmla="*/ 3 h 143"/>
                  <a:gd name="T20" fmla="*/ 103 w 149"/>
                  <a:gd name="T21" fmla="*/ 14 h 143"/>
                  <a:gd name="T22" fmla="*/ 126 w 149"/>
                  <a:gd name="T23" fmla="*/ 7 h 143"/>
                  <a:gd name="T24" fmla="*/ 129 w 149"/>
                  <a:gd name="T25" fmla="*/ 7 h 143"/>
                  <a:gd name="T26" fmla="*/ 131 w 149"/>
                  <a:gd name="T27" fmla="*/ 9 h 143"/>
                  <a:gd name="T28" fmla="*/ 76 w 149"/>
                  <a:gd name="T29" fmla="*/ 142 h 143"/>
                  <a:gd name="T30" fmla="*/ 74 w 149"/>
                  <a:gd name="T31" fmla="*/ 143 h 143"/>
                  <a:gd name="T32" fmla="*/ 23 w 149"/>
                  <a:gd name="T33" fmla="*/ 15 h 143"/>
                  <a:gd name="T34" fmla="*/ 74 w 149"/>
                  <a:gd name="T35" fmla="*/ 135 h 143"/>
                  <a:gd name="T36" fmla="*/ 126 w 149"/>
                  <a:gd name="T37" fmla="*/ 15 h 143"/>
                  <a:gd name="T38" fmla="*/ 103 w 149"/>
                  <a:gd name="T39" fmla="*/ 21 h 143"/>
                  <a:gd name="T40" fmla="*/ 75 w 149"/>
                  <a:gd name="T41" fmla="*/ 9 h 143"/>
                  <a:gd name="T42" fmla="*/ 74 w 149"/>
                  <a:gd name="T43" fmla="*/ 8 h 143"/>
                  <a:gd name="T44" fmla="*/ 74 w 149"/>
                  <a:gd name="T45" fmla="*/ 9 h 143"/>
                  <a:gd name="T46" fmla="*/ 46 w 149"/>
                  <a:gd name="T47" fmla="*/ 21 h 143"/>
                  <a:gd name="T48" fmla="*/ 23 w 149"/>
                  <a:gd name="T49" fmla="*/ 1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9" h="143">
                    <a:moveTo>
                      <a:pt x="74" y="143"/>
                    </a:moveTo>
                    <a:cubicBezTo>
                      <a:pt x="74" y="143"/>
                      <a:pt x="73" y="142"/>
                      <a:pt x="73" y="142"/>
                    </a:cubicBezTo>
                    <a:cubicBezTo>
                      <a:pt x="24" y="117"/>
                      <a:pt x="0" y="59"/>
                      <a:pt x="18" y="9"/>
                    </a:cubicBezTo>
                    <a:cubicBezTo>
                      <a:pt x="18" y="8"/>
                      <a:pt x="19" y="7"/>
                      <a:pt x="20" y="7"/>
                    </a:cubicBezTo>
                    <a:cubicBezTo>
                      <a:pt x="21" y="6"/>
                      <a:pt x="22" y="6"/>
                      <a:pt x="23" y="7"/>
                    </a:cubicBezTo>
                    <a:cubicBezTo>
                      <a:pt x="31" y="12"/>
                      <a:pt x="39" y="14"/>
                      <a:pt x="46" y="14"/>
                    </a:cubicBezTo>
                    <a:cubicBezTo>
                      <a:pt x="57" y="14"/>
                      <a:pt x="64" y="8"/>
                      <a:pt x="69" y="3"/>
                    </a:cubicBezTo>
                    <a:cubicBezTo>
                      <a:pt x="70" y="2"/>
                      <a:pt x="71" y="2"/>
                      <a:pt x="72" y="1"/>
                    </a:cubicBezTo>
                    <a:cubicBezTo>
                      <a:pt x="74" y="0"/>
                      <a:pt x="75" y="0"/>
                      <a:pt x="77" y="1"/>
                    </a:cubicBezTo>
                    <a:cubicBezTo>
                      <a:pt x="77" y="2"/>
                      <a:pt x="79" y="2"/>
                      <a:pt x="80" y="3"/>
                    </a:cubicBezTo>
                    <a:cubicBezTo>
                      <a:pt x="85" y="8"/>
                      <a:pt x="92" y="14"/>
                      <a:pt x="103" y="14"/>
                    </a:cubicBezTo>
                    <a:cubicBezTo>
                      <a:pt x="110" y="14"/>
                      <a:pt x="118" y="12"/>
                      <a:pt x="126" y="7"/>
                    </a:cubicBezTo>
                    <a:cubicBezTo>
                      <a:pt x="127" y="6"/>
                      <a:pt x="128" y="6"/>
                      <a:pt x="129" y="7"/>
                    </a:cubicBezTo>
                    <a:cubicBezTo>
                      <a:pt x="130" y="7"/>
                      <a:pt x="131" y="8"/>
                      <a:pt x="131" y="9"/>
                    </a:cubicBezTo>
                    <a:cubicBezTo>
                      <a:pt x="149" y="59"/>
                      <a:pt x="125" y="117"/>
                      <a:pt x="76" y="142"/>
                    </a:cubicBezTo>
                    <a:cubicBezTo>
                      <a:pt x="76" y="142"/>
                      <a:pt x="75" y="143"/>
                      <a:pt x="74" y="143"/>
                    </a:cubicBezTo>
                    <a:close/>
                    <a:moveTo>
                      <a:pt x="23" y="15"/>
                    </a:moveTo>
                    <a:cubicBezTo>
                      <a:pt x="9" y="60"/>
                      <a:pt x="30" y="112"/>
                      <a:pt x="74" y="135"/>
                    </a:cubicBezTo>
                    <a:cubicBezTo>
                      <a:pt x="118" y="112"/>
                      <a:pt x="140" y="60"/>
                      <a:pt x="126" y="15"/>
                    </a:cubicBezTo>
                    <a:cubicBezTo>
                      <a:pt x="118" y="19"/>
                      <a:pt x="110" y="21"/>
                      <a:pt x="103" y="21"/>
                    </a:cubicBezTo>
                    <a:cubicBezTo>
                      <a:pt x="90" y="21"/>
                      <a:pt x="81" y="14"/>
                      <a:pt x="75" y="9"/>
                    </a:cubicBezTo>
                    <a:cubicBezTo>
                      <a:pt x="75" y="8"/>
                      <a:pt x="75" y="8"/>
                      <a:pt x="74" y="8"/>
                    </a:cubicBezTo>
                    <a:cubicBezTo>
                      <a:pt x="74" y="8"/>
                      <a:pt x="74" y="8"/>
                      <a:pt x="74" y="9"/>
                    </a:cubicBezTo>
                    <a:cubicBezTo>
                      <a:pt x="68" y="14"/>
                      <a:pt x="59" y="21"/>
                      <a:pt x="46" y="21"/>
                    </a:cubicBezTo>
                    <a:cubicBezTo>
                      <a:pt x="39" y="21"/>
                      <a:pt x="31" y="19"/>
                      <a:pt x="23" y="15"/>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42" name="Group 41"/>
              <p:cNvGrpSpPr/>
              <p:nvPr/>
            </p:nvGrpSpPr>
            <p:grpSpPr>
              <a:xfrm>
                <a:off x="7131234" y="891304"/>
                <a:ext cx="850900" cy="881063"/>
                <a:chOff x="10800247" y="1319368"/>
                <a:chExt cx="850900" cy="881063"/>
              </a:xfrm>
            </p:grpSpPr>
            <p:sp>
              <p:nvSpPr>
                <p:cNvPr id="38" name="Freeform 30"/>
                <p:cNvSpPr>
                  <a:spLocks/>
                </p:cNvSpPr>
                <p:nvPr/>
              </p:nvSpPr>
              <p:spPr bwMode="auto">
                <a:xfrm>
                  <a:off x="10800247" y="1352706"/>
                  <a:ext cx="850900" cy="822325"/>
                </a:xfrm>
                <a:custGeom>
                  <a:avLst/>
                  <a:gdLst>
                    <a:gd name="T0" fmla="*/ 14 w 131"/>
                    <a:gd name="T1" fmla="*/ 7 h 127"/>
                    <a:gd name="T2" fmla="*/ 65 w 131"/>
                    <a:gd name="T3" fmla="*/ 127 h 127"/>
                    <a:gd name="T4" fmla="*/ 117 w 131"/>
                    <a:gd name="T5" fmla="*/ 7 h 127"/>
                    <a:gd name="T6" fmla="*/ 94 w 131"/>
                    <a:gd name="T7" fmla="*/ 13 h 127"/>
                    <a:gd name="T8" fmla="*/ 66 w 131"/>
                    <a:gd name="T9" fmla="*/ 1 h 127"/>
                    <a:gd name="T10" fmla="*/ 65 w 131"/>
                    <a:gd name="T11" fmla="*/ 0 h 127"/>
                    <a:gd name="T12" fmla="*/ 65 w 131"/>
                    <a:gd name="T13" fmla="*/ 1 h 127"/>
                    <a:gd name="T14" fmla="*/ 37 w 131"/>
                    <a:gd name="T15" fmla="*/ 13 h 127"/>
                    <a:gd name="T16" fmla="*/ 14 w 131"/>
                    <a:gd name="T17" fmla="*/ 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27">
                      <a:moveTo>
                        <a:pt x="14" y="7"/>
                      </a:moveTo>
                      <a:cubicBezTo>
                        <a:pt x="0" y="52"/>
                        <a:pt x="21" y="104"/>
                        <a:pt x="65" y="127"/>
                      </a:cubicBezTo>
                      <a:cubicBezTo>
                        <a:pt x="109" y="104"/>
                        <a:pt x="131" y="52"/>
                        <a:pt x="117" y="7"/>
                      </a:cubicBezTo>
                      <a:cubicBezTo>
                        <a:pt x="109" y="11"/>
                        <a:pt x="101" y="13"/>
                        <a:pt x="94" y="13"/>
                      </a:cubicBezTo>
                      <a:cubicBezTo>
                        <a:pt x="81" y="13"/>
                        <a:pt x="72" y="6"/>
                        <a:pt x="66" y="1"/>
                      </a:cubicBezTo>
                      <a:cubicBezTo>
                        <a:pt x="66" y="0"/>
                        <a:pt x="66" y="0"/>
                        <a:pt x="65" y="0"/>
                      </a:cubicBezTo>
                      <a:cubicBezTo>
                        <a:pt x="65" y="0"/>
                        <a:pt x="65" y="0"/>
                        <a:pt x="65" y="1"/>
                      </a:cubicBezTo>
                      <a:cubicBezTo>
                        <a:pt x="59" y="6"/>
                        <a:pt x="50" y="13"/>
                        <a:pt x="37" y="13"/>
                      </a:cubicBezTo>
                      <a:cubicBezTo>
                        <a:pt x="30" y="13"/>
                        <a:pt x="22" y="11"/>
                        <a:pt x="14"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 name="Freeform 32"/>
                <p:cNvSpPr>
                  <a:spLocks/>
                </p:cNvSpPr>
                <p:nvPr/>
              </p:nvSpPr>
              <p:spPr bwMode="auto">
                <a:xfrm>
                  <a:off x="10825647" y="1319368"/>
                  <a:ext cx="396875" cy="441325"/>
                </a:xfrm>
                <a:custGeom>
                  <a:avLst/>
                  <a:gdLst>
                    <a:gd name="T0" fmla="*/ 6 w 61"/>
                    <a:gd name="T1" fmla="*/ 68 h 68"/>
                    <a:gd name="T2" fmla="*/ 8 w 61"/>
                    <a:gd name="T3" fmla="*/ 7 h 68"/>
                    <a:gd name="T4" fmla="*/ 61 w 61"/>
                    <a:gd name="T5" fmla="*/ 0 h 68"/>
                    <a:gd name="T6" fmla="*/ 61 w 61"/>
                    <a:gd name="T7" fmla="*/ 68 h 68"/>
                  </a:gdLst>
                  <a:ahLst/>
                  <a:cxnLst>
                    <a:cxn ang="0">
                      <a:pos x="T0" y="T1"/>
                    </a:cxn>
                    <a:cxn ang="0">
                      <a:pos x="T2" y="T3"/>
                    </a:cxn>
                    <a:cxn ang="0">
                      <a:pos x="T4" y="T5"/>
                    </a:cxn>
                    <a:cxn ang="0">
                      <a:pos x="T6" y="T7"/>
                    </a:cxn>
                  </a:cxnLst>
                  <a:rect l="0" t="0" r="r" b="b"/>
                  <a:pathLst>
                    <a:path w="61" h="68">
                      <a:moveTo>
                        <a:pt x="6" y="68"/>
                      </a:moveTo>
                      <a:cubicBezTo>
                        <a:pt x="0" y="48"/>
                        <a:pt x="1" y="27"/>
                        <a:pt x="8" y="7"/>
                      </a:cubicBezTo>
                      <a:cubicBezTo>
                        <a:pt x="39" y="25"/>
                        <a:pt x="54" y="6"/>
                        <a:pt x="61" y="0"/>
                      </a:cubicBezTo>
                      <a:cubicBezTo>
                        <a:pt x="61" y="68"/>
                        <a:pt x="61" y="68"/>
                        <a:pt x="61" y="68"/>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 name="Freeform 33"/>
                <p:cNvSpPr>
                  <a:spLocks/>
                </p:cNvSpPr>
                <p:nvPr/>
              </p:nvSpPr>
              <p:spPr bwMode="auto">
                <a:xfrm>
                  <a:off x="11222522" y="1760693"/>
                  <a:ext cx="363538" cy="439738"/>
                </a:xfrm>
                <a:custGeom>
                  <a:avLst/>
                  <a:gdLst>
                    <a:gd name="T0" fmla="*/ 0 w 56"/>
                    <a:gd name="T1" fmla="*/ 0 h 68"/>
                    <a:gd name="T2" fmla="*/ 0 w 56"/>
                    <a:gd name="T3" fmla="*/ 68 h 68"/>
                    <a:gd name="T4" fmla="*/ 56 w 56"/>
                    <a:gd name="T5" fmla="*/ 0 h 68"/>
                  </a:gdLst>
                  <a:ahLst/>
                  <a:cxnLst>
                    <a:cxn ang="0">
                      <a:pos x="T0" y="T1"/>
                    </a:cxn>
                    <a:cxn ang="0">
                      <a:pos x="T2" y="T3"/>
                    </a:cxn>
                    <a:cxn ang="0">
                      <a:pos x="T4" y="T5"/>
                    </a:cxn>
                  </a:cxnLst>
                  <a:rect l="0" t="0" r="r" b="b"/>
                  <a:pathLst>
                    <a:path w="56" h="68">
                      <a:moveTo>
                        <a:pt x="0" y="0"/>
                      </a:moveTo>
                      <a:cubicBezTo>
                        <a:pt x="0" y="68"/>
                        <a:pt x="0" y="68"/>
                        <a:pt x="0" y="68"/>
                      </a:cubicBezTo>
                      <a:cubicBezTo>
                        <a:pt x="28" y="54"/>
                        <a:pt x="48" y="29"/>
                        <a:pt x="56" y="0"/>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291" name="Freeform 290"/>
            <p:cNvSpPr>
              <a:spLocks noChangeAspect="1"/>
            </p:cNvSpPr>
            <p:nvPr/>
          </p:nvSpPr>
          <p:spPr bwMode="auto">
            <a:xfrm>
              <a:off x="8157600" y="5696685"/>
              <a:ext cx="831676" cy="594430"/>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rgbClr val="FFF100"/>
            </a:solidFill>
            <a:ln>
              <a:noFill/>
            </a:ln>
          </p:spPr>
          <p:txBody>
            <a:bodyPr vert="horz" wrap="square" lIns="89592" tIns="44796" rIns="89592" bIns="44796" numCol="1" anchor="t" anchorCtr="0" compatLnSpc="1">
              <a:prstTxWarp prst="textNoShape">
                <a:avLst/>
              </a:prstTxWarp>
            </a:bodyPr>
            <a:lstStyle/>
            <a:p>
              <a:pPr marL="0" marR="0" lvl="0" indent="0" algn="l" defTabSz="912803" rtl="0" eaLnBrk="1" fontAlgn="base" latinLnBrk="0" hangingPunct="1">
                <a:lnSpc>
                  <a:spcPct val="100000"/>
                </a:lnSpc>
                <a:spcBef>
                  <a:spcPct val="0"/>
                </a:spcBef>
                <a:spcAft>
                  <a:spcPct val="0"/>
                </a:spcAft>
                <a:buClrTx/>
                <a:buSzTx/>
                <a:buFontTx/>
                <a:buNone/>
                <a:tabLst/>
                <a:defRPr/>
              </a:pPr>
              <a:endParaRPr kumimoji="0" lang="en-IN" sz="1567" b="0" i="0" u="none" strike="noStrike" kern="1200" cap="none" spc="0" normalizeH="0" baseline="0" noProof="0">
                <a:ln>
                  <a:noFill/>
                </a:ln>
                <a:solidFill>
                  <a:srgbClr val="000000"/>
                </a:solidFill>
                <a:effectLst/>
                <a:uLnTx/>
                <a:uFillTx/>
                <a:latin typeface="Segoe UI"/>
                <a:ea typeface="+mn-ea"/>
                <a:cs typeface="+mn-cs"/>
              </a:endParaRPr>
            </a:p>
          </p:txBody>
        </p:sp>
      </p:grpSp>
      <p:sp>
        <p:nvSpPr>
          <p:cNvPr id="305" name="Subtitle 2"/>
          <p:cNvSpPr txBox="1">
            <a:spLocks/>
          </p:cNvSpPr>
          <p:nvPr/>
        </p:nvSpPr>
        <p:spPr>
          <a:xfrm>
            <a:off x="383866" y="4076158"/>
            <a:ext cx="7025451" cy="2383636"/>
          </a:xfrm>
          <a:prstGeom prst="rect">
            <a:avLst/>
          </a:prstGeom>
        </p:spPr>
        <p:txBody>
          <a:bodyPr/>
          <a:lstStyle>
            <a:lvl1pPr marL="336145" indent="-336145" algn="l" defTabSz="913505" rtl="0" eaLnBrk="1" fontAlgn="base" hangingPunct="1">
              <a:lnSpc>
                <a:spcPct val="90000"/>
              </a:lnSpc>
              <a:spcBef>
                <a:spcPct val="20000"/>
              </a:spcBef>
              <a:spcAft>
                <a:spcPct val="0"/>
              </a:spcAft>
              <a:buSzPct val="90000"/>
              <a:buFont typeface="Arial" charset="0"/>
              <a:buChar char="•"/>
              <a:defRPr sz="3600"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800"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endParaRPr lang="en-US" dirty="0">
              <a:solidFill>
                <a:schemeClr val="bg1"/>
              </a:solidFill>
            </a:endParaRPr>
          </a:p>
          <a:p>
            <a:pPr marL="0" indent="0">
              <a:buNone/>
            </a:pPr>
            <a:r>
              <a:rPr lang="en-US" dirty="0">
                <a:solidFill>
                  <a:schemeClr val="bg1"/>
                </a:solidFill>
              </a:rPr>
              <a:t>Data Migration </a:t>
            </a:r>
          </a:p>
          <a:p>
            <a:pPr marL="0" indent="0">
              <a:buNone/>
            </a:pPr>
            <a:r>
              <a:rPr lang="en-US" dirty="0">
                <a:solidFill>
                  <a:schemeClr val="bg1"/>
                </a:solidFill>
              </a:rPr>
              <a:t>From Netezza to Azure Synapse Analytics</a:t>
            </a:r>
          </a:p>
        </p:txBody>
      </p:sp>
    </p:spTree>
    <p:extLst>
      <p:ext uri="{BB962C8B-B14F-4D97-AF65-F5344CB8AC3E}">
        <p14:creationId xmlns:p14="http://schemas.microsoft.com/office/powerpoint/2010/main" val="3540190099"/>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54B388-2259-4F1F-B142-739CBE157B9D}"/>
              </a:ext>
            </a:extLst>
          </p:cNvPr>
          <p:cNvSpPr>
            <a:spLocks noGrp="1"/>
          </p:cNvSpPr>
          <p:nvPr>
            <p:ph type="title"/>
          </p:nvPr>
        </p:nvSpPr>
        <p:spPr/>
        <p:txBody>
          <a:bodyPr/>
          <a:lstStyle/>
          <a:p>
            <a:r>
              <a:rPr lang="en-US" b="1" dirty="0"/>
              <a:t>Sample Netezza Job – Update and Insert</a:t>
            </a:r>
          </a:p>
        </p:txBody>
      </p:sp>
      <p:pic>
        <p:nvPicPr>
          <p:cNvPr id="5" name="Picture 4" descr="Example of Netezza job.  This job both updates and inserts rows to a table that has a key in Netezza&#10;">
            <a:extLst>
              <a:ext uri="{FF2B5EF4-FFF2-40B4-BE49-F238E27FC236}">
                <a16:creationId xmlns:a16="http://schemas.microsoft.com/office/drawing/2014/main" id="{8D6BA69A-C9B4-4F22-9A3A-4765EA91412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3485" y="1675227"/>
            <a:ext cx="10525029" cy="4394199"/>
          </a:xfrm>
          <a:prstGeom prst="rect">
            <a:avLst/>
          </a:prstGeom>
        </p:spPr>
      </p:pic>
    </p:spTree>
    <p:extLst>
      <p:ext uri="{BB962C8B-B14F-4D97-AF65-F5344CB8AC3E}">
        <p14:creationId xmlns:p14="http://schemas.microsoft.com/office/powerpoint/2010/main" val="3721672245"/>
      </p:ext>
    </p:extLst>
  </p:cSld>
  <p:clrMapOvr>
    <a:masterClrMapping/>
  </p:clrMapOvr>
  <p:transition spd="med">
    <p:fade/>
  </p:transition>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B45A142-4255-493C-8284-5D566C121B1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36884" y="321177"/>
            <a:ext cx="4332307" cy="6179552"/>
          </a:xfrm>
          <a:prstGeom prst="rect">
            <a:avLst/>
          </a:prstGeom>
          <a:solidFill>
            <a:srgbClr val="404040">
              <a:alpha val="89804"/>
            </a:srgbClr>
          </a:solidFill>
          <a:ln w="127000" cap="sq" cmpd="thinThick">
            <a:solidFill>
              <a:srgbClr val="595959">
                <a:alpha val="8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descr="Selection for Connectivity of Available Sources/Targets">
            <a:extLst>
              <a:ext uri="{FF2B5EF4-FFF2-40B4-BE49-F238E27FC236}">
                <a16:creationId xmlns:a16="http://schemas.microsoft.com/office/drawing/2014/main" id="{19A77AD0-D141-45AB-A812-6CBD9760B403}"/>
              </a:ext>
            </a:extLst>
          </p:cNvPr>
          <p:cNvSpPr>
            <a:spLocks noGrp="1"/>
          </p:cNvSpPr>
          <p:nvPr>
            <p:ph type="title"/>
          </p:nvPr>
        </p:nvSpPr>
        <p:spPr>
          <a:xfrm>
            <a:off x="674237" y="914400"/>
            <a:ext cx="3657600" cy="2887579"/>
          </a:xfrm>
        </p:spPr>
        <p:txBody>
          <a:bodyPr vert="horz" lIns="91440" tIns="45720" rIns="91440" bIns="45720" rtlCol="0" anchor="b">
            <a:normAutofit/>
          </a:bodyPr>
          <a:lstStyle/>
          <a:p>
            <a:pPr algn="ctr"/>
            <a:r>
              <a:rPr lang="en-US" sz="4100" kern="1200" dirty="0">
                <a:solidFill>
                  <a:srgbClr val="FFFFFF"/>
                </a:solidFill>
                <a:latin typeface="+mj-lt"/>
                <a:ea typeface="+mj-ea"/>
                <a:cs typeface="+mj-cs"/>
              </a:rPr>
              <a:t>Selection for Connectivity of Available Sources/Targets</a:t>
            </a:r>
          </a:p>
        </p:txBody>
      </p:sp>
      <p:cxnSp>
        <p:nvCxnSpPr>
          <p:cNvPr id="11" name="Straight Connector 10">
            <a:extLst>
              <a:ext uri="{FF2B5EF4-FFF2-40B4-BE49-F238E27FC236}">
                <a16:creationId xmlns:a16="http://schemas.microsoft.com/office/drawing/2014/main" id="{38FB9660-F42F-4313-BBC4-47C007FE484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191126" y="3910267"/>
            <a:ext cx="258679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pic>
        <p:nvPicPr>
          <p:cNvPr id="4" name="Picture 3" descr="Selection for Connectivity of Available Sources/Targets">
            <a:extLst>
              <a:ext uri="{FF2B5EF4-FFF2-40B4-BE49-F238E27FC236}">
                <a16:creationId xmlns:a16="http://schemas.microsoft.com/office/drawing/2014/main" id="{C2313224-909C-4631-8647-8E4E08216D5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53822" y="1157906"/>
            <a:ext cx="6553545" cy="4550129"/>
          </a:xfrm>
          <a:prstGeom prst="rect">
            <a:avLst/>
          </a:prstGeom>
        </p:spPr>
      </p:pic>
    </p:spTree>
    <p:extLst>
      <p:ext uri="{BB962C8B-B14F-4D97-AF65-F5344CB8AC3E}">
        <p14:creationId xmlns:p14="http://schemas.microsoft.com/office/powerpoint/2010/main" val="269116227"/>
      </p:ext>
    </p:extLst>
  </p:cSld>
  <p:clrMapOvr>
    <a:masterClrMapping/>
  </p:clrMapOvr>
  <p:transition spd="med">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54B388-2259-4F1F-B142-739CBE157B9D}"/>
              </a:ext>
            </a:extLst>
          </p:cNvPr>
          <p:cNvSpPr>
            <a:spLocks noGrp="1"/>
          </p:cNvSpPr>
          <p:nvPr>
            <p:ph type="title"/>
          </p:nvPr>
        </p:nvSpPr>
        <p:spPr/>
        <p:txBody>
          <a:bodyPr/>
          <a:lstStyle/>
          <a:p>
            <a:r>
              <a:rPr lang="en-US" b="1" dirty="0"/>
              <a:t>Singleton and Bulk Load Inserts</a:t>
            </a:r>
          </a:p>
        </p:txBody>
      </p:sp>
      <p:sp>
        <p:nvSpPr>
          <p:cNvPr id="5" name="TextBox 4">
            <a:extLst>
              <a:ext uri="{FF2B5EF4-FFF2-40B4-BE49-F238E27FC236}">
                <a16:creationId xmlns:a16="http://schemas.microsoft.com/office/drawing/2014/main" id="{0E4723E8-1D68-4685-AFD9-A0477FF79717}"/>
              </a:ext>
            </a:extLst>
          </p:cNvPr>
          <p:cNvSpPr txBox="1"/>
          <p:nvPr/>
        </p:nvSpPr>
        <p:spPr>
          <a:xfrm>
            <a:off x="386443" y="1306285"/>
            <a:ext cx="11050814" cy="1569660"/>
          </a:xfrm>
          <a:prstGeom prst="rect">
            <a:avLst/>
          </a:prstGeom>
          <a:noFill/>
        </p:spPr>
        <p:txBody>
          <a:bodyPr wrap="square" rtlCol="0">
            <a:spAutoFit/>
          </a:bodyPr>
          <a:lstStyle/>
          <a:p>
            <a:pPr marL="285750" indent="-285750">
              <a:buFont typeface="Arial" panose="020B0604020202020204" pitchFamily="34" charset="0"/>
              <a:buChar char="•"/>
            </a:pPr>
            <a:r>
              <a:rPr lang="en-US" sz="2400" dirty="0"/>
              <a:t>Selection of </a:t>
            </a:r>
            <a:r>
              <a:rPr lang="en-US" sz="2400" b="1" dirty="0"/>
              <a:t>ODBC</a:t>
            </a:r>
            <a:r>
              <a:rPr lang="en-US" sz="2400" dirty="0"/>
              <a:t> Connector will only allow singleton transactions</a:t>
            </a:r>
          </a:p>
          <a:p>
            <a:pPr marL="285750" indent="-285750">
              <a:buFont typeface="Arial" panose="020B0604020202020204" pitchFamily="34" charset="0"/>
              <a:buChar char="•"/>
            </a:pPr>
            <a:r>
              <a:rPr lang="en-US" sz="2400" dirty="0"/>
              <a:t>Selection of </a:t>
            </a:r>
            <a:r>
              <a:rPr lang="en-US" sz="2400" b="1" dirty="0"/>
              <a:t>DRS</a:t>
            </a:r>
            <a:r>
              <a:rPr lang="en-US" sz="2400" dirty="0"/>
              <a:t> Connector will allow for selection of Bulk Insert option</a:t>
            </a:r>
          </a:p>
          <a:p>
            <a:pPr marL="285750" indent="-285750">
              <a:buFont typeface="Arial" panose="020B0604020202020204" pitchFamily="34" charset="0"/>
              <a:buChar char="•"/>
            </a:pPr>
            <a:r>
              <a:rPr lang="en-US" sz="2400" dirty="0"/>
              <a:t>All stored procedures run on Azure Synapse Analytics must be executed via the Stored Procedure Database option from this selection screen</a:t>
            </a:r>
          </a:p>
        </p:txBody>
      </p:sp>
    </p:spTree>
    <p:extLst>
      <p:ext uri="{BB962C8B-B14F-4D97-AF65-F5344CB8AC3E}">
        <p14:creationId xmlns:p14="http://schemas.microsoft.com/office/powerpoint/2010/main" val="1977790565"/>
      </p:ext>
    </p:extLst>
  </p:cSld>
  <p:clrMapOvr>
    <a:masterClrMapping/>
  </p:clrMapOvr>
  <p:transition spd="med">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54B388-2259-4F1F-B142-739CBE157B9D}"/>
              </a:ext>
            </a:extLst>
          </p:cNvPr>
          <p:cNvSpPr>
            <a:spLocks noGrp="1"/>
          </p:cNvSpPr>
          <p:nvPr>
            <p:ph type="title"/>
          </p:nvPr>
        </p:nvSpPr>
        <p:spPr/>
        <p:txBody>
          <a:bodyPr/>
          <a:lstStyle/>
          <a:p>
            <a:r>
              <a:rPr lang="en-US" b="1" dirty="0"/>
              <a:t>DRS Connection</a:t>
            </a:r>
          </a:p>
        </p:txBody>
      </p:sp>
      <p:sp>
        <p:nvSpPr>
          <p:cNvPr id="5" name="TextBox 4">
            <a:extLst>
              <a:ext uri="{FF2B5EF4-FFF2-40B4-BE49-F238E27FC236}">
                <a16:creationId xmlns:a16="http://schemas.microsoft.com/office/drawing/2014/main" id="{0E4723E8-1D68-4685-AFD9-A0477FF79717}"/>
              </a:ext>
            </a:extLst>
          </p:cNvPr>
          <p:cNvSpPr txBox="1"/>
          <p:nvPr/>
        </p:nvSpPr>
        <p:spPr>
          <a:xfrm>
            <a:off x="386443" y="1306285"/>
            <a:ext cx="11050814" cy="5078313"/>
          </a:xfrm>
          <a:prstGeom prst="rect">
            <a:avLst/>
          </a:prstGeom>
          <a:noFill/>
        </p:spPr>
        <p:txBody>
          <a:bodyPr wrap="square" rtlCol="0">
            <a:spAutoFit/>
          </a:bodyPr>
          <a:lstStyle/>
          <a:p>
            <a:pPr marL="285750" indent="-285750">
              <a:buFont typeface="Arial" panose="020B0604020202020204" pitchFamily="34" charset="0"/>
              <a:buChar char="•"/>
            </a:pPr>
            <a:r>
              <a:rPr lang="en-US" sz="1800" dirty="0">
                <a:effectLst/>
              </a:rPr>
              <a:t>Use the DRS Connector stage to access relational database management systems by using the native interfaces that are available for the corresponding databases. </a:t>
            </a:r>
          </a:p>
          <a:p>
            <a:pPr marL="285750" indent="-285750">
              <a:buFont typeface="Arial" panose="020B0604020202020204" pitchFamily="34" charset="0"/>
              <a:buChar char="•"/>
            </a:pPr>
            <a:r>
              <a:rPr lang="en-US" sz="1800" dirty="0">
                <a:effectLst/>
              </a:rPr>
              <a:t>The choice of the database type is not determined when the stage is placed on the job canvas but is instead specified when the stage is configured. </a:t>
            </a:r>
          </a:p>
          <a:p>
            <a:pPr marL="285750" indent="-285750">
              <a:buFont typeface="Arial" panose="020B0604020202020204" pitchFamily="34" charset="0"/>
              <a:buChar char="•"/>
            </a:pPr>
            <a:r>
              <a:rPr lang="en-US" sz="1800" dirty="0">
                <a:effectLst/>
              </a:rPr>
              <a:t>The DRS Connector stage supports IBM® DB2®, Oracle, and ODBC data sources. For other database types, you can configure the DRS Connector stage to use the ODBC database type and access the databases through the ODBC drivers that are included with InfoSphere Information Server.</a:t>
            </a:r>
          </a:p>
          <a:p>
            <a:pPr marL="285750" indent="-285750">
              <a:buFont typeface="Arial" panose="020B0604020202020204" pitchFamily="34" charset="0"/>
              <a:buChar char="•"/>
            </a:pPr>
            <a:r>
              <a:rPr lang="en-US" sz="1800" dirty="0">
                <a:effectLst/>
              </a:rPr>
              <a:t>After the DRS Connector stage is placed on the job canvas, it needs to be configured to perform the operation intended by the job design.</a:t>
            </a:r>
          </a:p>
          <a:p>
            <a:pPr marL="285750" indent="-285750">
              <a:buFont typeface="Arial" panose="020B0604020202020204" pitchFamily="34" charset="0"/>
              <a:buChar char="•"/>
            </a:pPr>
            <a:r>
              <a:rPr lang="en-US" sz="1800" dirty="0">
                <a:effectLst/>
              </a:rPr>
              <a:t>When a new DRS Connector stage is added to the server or parallel canvas, you must specify the connection information for the database that the stage connects to at run time.</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sz="1800" dirty="0">
                <a:effectLst/>
              </a:rPr>
              <a:t>Information Links</a:t>
            </a:r>
          </a:p>
          <a:p>
            <a:pPr marL="742950" lvl="1" indent="-285750">
              <a:buFont typeface="Arial" panose="020B0604020202020204" pitchFamily="34" charset="0"/>
              <a:buChar char="•"/>
            </a:pPr>
            <a:r>
              <a:rPr lang="en-US" dirty="0">
                <a:effectLst/>
                <a:hlinkClick r:id="rId3"/>
              </a:rPr>
              <a:t>DRS Connection </a:t>
            </a:r>
            <a:r>
              <a:rPr lang="en-US" dirty="0">
                <a:hlinkClick r:id="rId3"/>
              </a:rPr>
              <a:t>O</a:t>
            </a:r>
            <a:r>
              <a:rPr lang="en-US" dirty="0">
                <a:effectLst/>
                <a:hlinkClick r:id="rId3"/>
              </a:rPr>
              <a:t>vervi</a:t>
            </a:r>
            <a:r>
              <a:rPr lang="en-US" dirty="0">
                <a:hlinkClick r:id="rId3"/>
              </a:rPr>
              <a:t>ew</a:t>
            </a:r>
            <a:endParaRPr lang="en-US" dirty="0"/>
          </a:p>
          <a:p>
            <a:pPr marL="742950" lvl="1" indent="-285750">
              <a:buFont typeface="Arial" panose="020B0604020202020204" pitchFamily="34" charset="0"/>
              <a:buChar char="•"/>
            </a:pPr>
            <a:r>
              <a:rPr lang="en-US" dirty="0">
                <a:hlinkClick r:id="rId4"/>
              </a:rPr>
              <a:t>DRS Configuration</a:t>
            </a:r>
            <a:endParaRPr lang="en-US" dirty="0"/>
          </a:p>
          <a:p>
            <a:pPr marL="742950" lvl="1" indent="-285750">
              <a:buFont typeface="Arial" panose="020B0604020202020204" pitchFamily="34" charset="0"/>
              <a:buChar char="•"/>
            </a:pPr>
            <a:r>
              <a:rPr lang="en-US" dirty="0">
                <a:effectLst/>
                <a:hlinkClick r:id="rId5"/>
              </a:rPr>
              <a:t>Settings for the DRS Connector stage</a:t>
            </a:r>
            <a:endParaRPr lang="en-US" dirty="0"/>
          </a:p>
          <a:p>
            <a:pPr marL="742950" lvl="1" indent="-285750">
              <a:buFont typeface="Arial" panose="020B0604020202020204" pitchFamily="34" charset="0"/>
              <a:buChar char="•"/>
            </a:pPr>
            <a:r>
              <a:rPr lang="en-US" dirty="0">
                <a:effectLst/>
                <a:hlinkClick r:id="rId6"/>
              </a:rPr>
              <a:t>Defining a DRS Connector stage connection to the database</a:t>
            </a:r>
            <a:br>
              <a:rPr lang="en-US" dirty="0">
                <a:effectLst/>
              </a:rPr>
            </a:br>
            <a:endParaRPr lang="en-US" dirty="0"/>
          </a:p>
        </p:txBody>
      </p:sp>
    </p:spTree>
    <p:extLst>
      <p:ext uri="{BB962C8B-B14F-4D97-AF65-F5344CB8AC3E}">
        <p14:creationId xmlns:p14="http://schemas.microsoft.com/office/powerpoint/2010/main" val="2880821382"/>
      </p:ext>
    </p:extLst>
  </p:cSld>
  <p:clrMapOvr>
    <a:masterClrMapping/>
  </p:clrMapOvr>
  <p:transition spd="med">
    <p:fade/>
  </p:transition>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B45A142-4255-493C-8284-5D566C121B1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36884" y="321177"/>
            <a:ext cx="4332307" cy="6179552"/>
          </a:xfrm>
          <a:prstGeom prst="rect">
            <a:avLst/>
          </a:prstGeom>
          <a:solidFill>
            <a:srgbClr val="404040">
              <a:alpha val="89804"/>
            </a:srgbClr>
          </a:solidFill>
          <a:ln w="127000" cap="sq" cmpd="thinThick">
            <a:solidFill>
              <a:srgbClr val="595959">
                <a:alpha val="8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descr="Selection of Choices for Processing">
            <a:extLst>
              <a:ext uri="{FF2B5EF4-FFF2-40B4-BE49-F238E27FC236}">
                <a16:creationId xmlns:a16="http://schemas.microsoft.com/office/drawing/2014/main" id="{260B1511-FBE3-4E57-95A4-F01D5DC0D63B}"/>
              </a:ext>
            </a:extLst>
          </p:cNvPr>
          <p:cNvSpPr>
            <a:spLocks noGrp="1"/>
          </p:cNvSpPr>
          <p:nvPr>
            <p:ph type="title"/>
          </p:nvPr>
        </p:nvSpPr>
        <p:spPr>
          <a:xfrm>
            <a:off x="674237" y="914400"/>
            <a:ext cx="3657600" cy="2887579"/>
          </a:xfrm>
        </p:spPr>
        <p:txBody>
          <a:bodyPr vert="horz" lIns="91440" tIns="45720" rIns="91440" bIns="45720" rtlCol="0" anchor="b">
            <a:normAutofit/>
          </a:bodyPr>
          <a:lstStyle/>
          <a:p>
            <a:pPr algn="ctr"/>
            <a:r>
              <a:rPr lang="en-US" kern="1200" dirty="0">
                <a:solidFill>
                  <a:srgbClr val="FFFFFF"/>
                </a:solidFill>
                <a:latin typeface="+mj-lt"/>
                <a:ea typeface="+mj-ea"/>
                <a:cs typeface="+mj-cs"/>
              </a:rPr>
              <a:t>Selection of Choices for Processing</a:t>
            </a:r>
          </a:p>
        </p:txBody>
      </p:sp>
      <p:cxnSp>
        <p:nvCxnSpPr>
          <p:cNvPr id="11" name="Straight Connector 10">
            <a:extLst>
              <a:ext uri="{FF2B5EF4-FFF2-40B4-BE49-F238E27FC236}">
                <a16:creationId xmlns:a16="http://schemas.microsoft.com/office/drawing/2014/main" id="{38FB9660-F42F-4313-BBC4-47C007FE484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191126" y="3910267"/>
            <a:ext cx="258679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pic>
        <p:nvPicPr>
          <p:cNvPr id="4" name="Picture 3" descr="Selection of Choices for Processing">
            <a:extLst>
              <a:ext uri="{FF2B5EF4-FFF2-40B4-BE49-F238E27FC236}">
                <a16:creationId xmlns:a16="http://schemas.microsoft.com/office/drawing/2014/main" id="{C0CC82CD-C553-4AA3-98D8-2AB6FAAF0F9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53822" y="1235136"/>
            <a:ext cx="6553545" cy="4395670"/>
          </a:xfrm>
          <a:prstGeom prst="rect">
            <a:avLst/>
          </a:prstGeom>
        </p:spPr>
      </p:pic>
      <p:cxnSp>
        <p:nvCxnSpPr>
          <p:cNvPr id="6" name="Straight Arrow Connector 5">
            <a:extLst>
              <a:ext uri="{FF2B5EF4-FFF2-40B4-BE49-F238E27FC236}">
                <a16:creationId xmlns:a16="http://schemas.microsoft.com/office/drawing/2014/main" id="{8BF5ABE9-DC3F-4778-9BBC-FAAA9AF2BD39}"/>
              </a:ext>
              <a:ext uri="{C183D7F6-B498-43B3-948B-1728B52AA6E4}">
                <adec:decorative xmlns:adec="http://schemas.microsoft.com/office/drawing/2017/decorative" val="1"/>
              </a:ext>
            </a:extLst>
          </p:cNvPr>
          <p:cNvCxnSpPr/>
          <p:nvPr/>
        </p:nvCxnSpPr>
        <p:spPr>
          <a:xfrm flipH="1">
            <a:off x="10036629" y="791029"/>
            <a:ext cx="863600" cy="360680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573A58F7-3F5E-4984-9322-6025E56B56B9}"/>
              </a:ext>
            </a:extLst>
          </p:cNvPr>
          <p:cNvSpPr/>
          <p:nvPr/>
        </p:nvSpPr>
        <p:spPr>
          <a:xfrm>
            <a:off x="10399486" y="321177"/>
            <a:ext cx="950685" cy="469852"/>
          </a:xfrm>
          <a:prstGeom prst="rect">
            <a:avLst/>
          </a:pr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Used More Often</a:t>
            </a:r>
          </a:p>
        </p:txBody>
      </p:sp>
    </p:spTree>
    <p:extLst>
      <p:ext uri="{BB962C8B-B14F-4D97-AF65-F5344CB8AC3E}">
        <p14:creationId xmlns:p14="http://schemas.microsoft.com/office/powerpoint/2010/main" val="416834356"/>
      </p:ext>
    </p:extLst>
  </p:cSld>
  <p:clrMapOvr>
    <a:masterClrMapping/>
  </p:clrMapOvr>
  <p:transition spd="med">
    <p:fade/>
  </p:transition>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B45A142-4255-493C-8284-5D566C121B1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36884" y="321177"/>
            <a:ext cx="4332307" cy="6179552"/>
          </a:xfrm>
          <a:prstGeom prst="rect">
            <a:avLst/>
          </a:prstGeom>
          <a:solidFill>
            <a:srgbClr val="404040">
              <a:alpha val="89804"/>
            </a:srgbClr>
          </a:solidFill>
          <a:ln w="127000" cap="sq" cmpd="thinThick">
            <a:solidFill>
              <a:srgbClr val="595959">
                <a:alpha val="8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B613D98-249E-4DA6-9906-9F5CE2A5FD64}"/>
              </a:ext>
            </a:extLst>
          </p:cNvPr>
          <p:cNvSpPr>
            <a:spLocks noGrp="1"/>
          </p:cNvSpPr>
          <p:nvPr>
            <p:ph type="title"/>
          </p:nvPr>
        </p:nvSpPr>
        <p:spPr>
          <a:xfrm>
            <a:off x="674237" y="914400"/>
            <a:ext cx="3657600" cy="2887579"/>
          </a:xfrm>
        </p:spPr>
        <p:txBody>
          <a:bodyPr vert="horz" lIns="91440" tIns="45720" rIns="91440" bIns="45720" rtlCol="0" anchor="b">
            <a:normAutofit/>
          </a:bodyPr>
          <a:lstStyle/>
          <a:p>
            <a:pPr algn="ctr"/>
            <a:r>
              <a:rPr lang="en-US" kern="1200" dirty="0">
                <a:solidFill>
                  <a:srgbClr val="FFFFFF"/>
                </a:solidFill>
                <a:latin typeface="+mj-lt"/>
                <a:ea typeface="+mj-ea"/>
                <a:cs typeface="+mj-cs"/>
              </a:rPr>
              <a:t>Selection of File Options</a:t>
            </a:r>
          </a:p>
        </p:txBody>
      </p:sp>
      <p:cxnSp>
        <p:nvCxnSpPr>
          <p:cNvPr id="11" name="Straight Connector 10">
            <a:extLst>
              <a:ext uri="{FF2B5EF4-FFF2-40B4-BE49-F238E27FC236}">
                <a16:creationId xmlns:a16="http://schemas.microsoft.com/office/drawing/2014/main" id="{38FB9660-F42F-4313-BBC4-47C007FE484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191126" y="3910267"/>
            <a:ext cx="258679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pic>
        <p:nvPicPr>
          <p:cNvPr id="4" name="Picture 3" descr="Selection of File Options">
            <a:extLst>
              <a:ext uri="{FF2B5EF4-FFF2-40B4-BE49-F238E27FC236}">
                <a16:creationId xmlns:a16="http://schemas.microsoft.com/office/drawing/2014/main" id="{4F66394C-A7DA-4568-B3DA-FFAFB2C5338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53822" y="1134515"/>
            <a:ext cx="6553545" cy="4596911"/>
          </a:xfrm>
          <a:prstGeom prst="rect">
            <a:avLst/>
          </a:prstGeom>
        </p:spPr>
      </p:pic>
    </p:spTree>
    <p:extLst>
      <p:ext uri="{BB962C8B-B14F-4D97-AF65-F5344CB8AC3E}">
        <p14:creationId xmlns:p14="http://schemas.microsoft.com/office/powerpoint/2010/main" val="1809661783"/>
      </p:ext>
    </p:extLst>
  </p:cSld>
  <p:clrMapOvr>
    <a:masterClrMapping/>
  </p:clrMapOvr>
  <p:transition spd="med">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54B388-2259-4F1F-B142-739CBE157B9D}"/>
              </a:ext>
            </a:extLst>
          </p:cNvPr>
          <p:cNvSpPr>
            <a:spLocks noGrp="1"/>
          </p:cNvSpPr>
          <p:nvPr>
            <p:ph type="title"/>
          </p:nvPr>
        </p:nvSpPr>
        <p:spPr/>
        <p:txBody>
          <a:bodyPr/>
          <a:lstStyle/>
          <a:p>
            <a:r>
              <a:rPr lang="en-US" b="1" dirty="0"/>
              <a:t>Setup Database Tables for use</a:t>
            </a:r>
          </a:p>
        </p:txBody>
      </p:sp>
      <p:sp>
        <p:nvSpPr>
          <p:cNvPr id="5" name="TextBox 4">
            <a:extLst>
              <a:ext uri="{FF2B5EF4-FFF2-40B4-BE49-F238E27FC236}">
                <a16:creationId xmlns:a16="http://schemas.microsoft.com/office/drawing/2014/main" id="{0E4723E8-1D68-4685-AFD9-A0477FF79717}"/>
              </a:ext>
            </a:extLst>
          </p:cNvPr>
          <p:cNvSpPr txBox="1"/>
          <p:nvPr/>
        </p:nvSpPr>
        <p:spPr>
          <a:xfrm>
            <a:off x="400956" y="1214321"/>
            <a:ext cx="11521493" cy="2246769"/>
          </a:xfrm>
          <a:prstGeom prst="rect">
            <a:avLst/>
          </a:prstGeom>
          <a:noFill/>
        </p:spPr>
        <p:txBody>
          <a:bodyPr wrap="square" rtlCol="0">
            <a:spAutoFit/>
          </a:bodyPr>
          <a:lstStyle/>
          <a:p>
            <a:pPr marL="457200" indent="-457200">
              <a:buFont typeface="Arial" panose="020B0604020202020204" pitchFamily="34" charset="0"/>
              <a:buChar char="•"/>
            </a:pPr>
            <a:r>
              <a:rPr lang="en-US" sz="2800" dirty="0"/>
              <a:t>Any Database table(s) used in this job must be imported into the job</a:t>
            </a:r>
          </a:p>
          <a:p>
            <a:pPr marL="457200" indent="-457200">
              <a:buFont typeface="Arial" panose="020B0604020202020204" pitchFamily="34" charset="0"/>
              <a:buChar char="•"/>
            </a:pPr>
            <a:r>
              <a:rPr lang="en-US" sz="2800" dirty="0"/>
              <a:t>Every table that is used in the job must be imported individually. </a:t>
            </a:r>
          </a:p>
          <a:p>
            <a:pPr marL="457200" indent="-457200">
              <a:buFont typeface="Arial" panose="020B0604020202020204" pitchFamily="34" charset="0"/>
              <a:buChar char="•"/>
            </a:pPr>
            <a:r>
              <a:rPr lang="en-US" sz="2800" dirty="0"/>
              <a:t>The name used to set up the ODBC connectivity for the database is utilized in the "DSN Name" box</a:t>
            </a:r>
          </a:p>
          <a:p>
            <a:pPr marL="457200" indent="-457200">
              <a:buFont typeface="Arial" panose="020B0604020202020204" pitchFamily="34" charset="0"/>
              <a:buChar char="•"/>
            </a:pPr>
            <a:r>
              <a:rPr lang="en-US" sz="2800" dirty="0"/>
              <a:t>Authorization credentials are specified in each individual import stage</a:t>
            </a:r>
          </a:p>
        </p:txBody>
      </p:sp>
    </p:spTree>
    <p:extLst>
      <p:ext uri="{BB962C8B-B14F-4D97-AF65-F5344CB8AC3E}">
        <p14:creationId xmlns:p14="http://schemas.microsoft.com/office/powerpoint/2010/main" val="1106326509"/>
      </p:ext>
    </p:extLst>
  </p:cSld>
  <p:clrMapOvr>
    <a:masterClrMapping/>
  </p:clrMapOvr>
  <p:transition spd="med">
    <p:fade/>
  </p:transition>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B45A142-4255-493C-8284-5D566C121B1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36884" y="321177"/>
            <a:ext cx="4332307" cy="6179552"/>
          </a:xfrm>
          <a:prstGeom prst="rect">
            <a:avLst/>
          </a:prstGeom>
          <a:solidFill>
            <a:srgbClr val="404040">
              <a:alpha val="89804"/>
            </a:srgbClr>
          </a:solidFill>
          <a:ln w="127000" cap="sq" cmpd="thinThick">
            <a:solidFill>
              <a:srgbClr val="595959">
                <a:alpha val="8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descr="Import Table Selections">
            <a:extLst>
              <a:ext uri="{FF2B5EF4-FFF2-40B4-BE49-F238E27FC236}">
                <a16:creationId xmlns:a16="http://schemas.microsoft.com/office/drawing/2014/main" id="{497C9FA7-047C-4727-898E-8302F5961107}"/>
              </a:ext>
            </a:extLst>
          </p:cNvPr>
          <p:cNvSpPr>
            <a:spLocks noGrp="1"/>
          </p:cNvSpPr>
          <p:nvPr>
            <p:ph type="title"/>
          </p:nvPr>
        </p:nvSpPr>
        <p:spPr>
          <a:xfrm>
            <a:off x="674237" y="914400"/>
            <a:ext cx="3657600" cy="2887579"/>
          </a:xfrm>
        </p:spPr>
        <p:txBody>
          <a:bodyPr vert="horz" lIns="91440" tIns="45720" rIns="91440" bIns="45720" rtlCol="0" anchor="b">
            <a:normAutofit/>
          </a:bodyPr>
          <a:lstStyle/>
          <a:p>
            <a:pPr algn="ctr"/>
            <a:r>
              <a:rPr lang="en-US" kern="1200" dirty="0">
                <a:solidFill>
                  <a:srgbClr val="FFFFFF"/>
                </a:solidFill>
                <a:latin typeface="+mj-lt"/>
                <a:ea typeface="+mj-ea"/>
                <a:cs typeface="+mj-cs"/>
              </a:rPr>
              <a:t>Import Table Selections</a:t>
            </a:r>
          </a:p>
        </p:txBody>
      </p:sp>
      <p:cxnSp>
        <p:nvCxnSpPr>
          <p:cNvPr id="11" name="Straight Connector 10">
            <a:extLst>
              <a:ext uri="{FF2B5EF4-FFF2-40B4-BE49-F238E27FC236}">
                <a16:creationId xmlns:a16="http://schemas.microsoft.com/office/drawing/2014/main" id="{38FB9660-F42F-4313-BBC4-47C007FE484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191126" y="3910267"/>
            <a:ext cx="258679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pic>
        <p:nvPicPr>
          <p:cNvPr id="4" name="Picture 3" descr="Import Table Selections">
            <a:extLst>
              <a:ext uri="{FF2B5EF4-FFF2-40B4-BE49-F238E27FC236}">
                <a16:creationId xmlns:a16="http://schemas.microsoft.com/office/drawing/2014/main" id="{DA02355E-BF2D-4972-A5CB-114FF902CD9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53822" y="647714"/>
            <a:ext cx="6553545" cy="5570514"/>
          </a:xfrm>
          <a:prstGeom prst="rect">
            <a:avLst/>
          </a:prstGeom>
        </p:spPr>
      </p:pic>
      <p:sp>
        <p:nvSpPr>
          <p:cNvPr id="5" name="Rectangle: Rounded Corners 4">
            <a:extLst>
              <a:ext uri="{FF2B5EF4-FFF2-40B4-BE49-F238E27FC236}">
                <a16:creationId xmlns:a16="http://schemas.microsoft.com/office/drawing/2014/main" id="{079EC09C-413B-4EA6-81FF-E2088FF7ABD9}"/>
              </a:ext>
              <a:ext uri="{C183D7F6-B498-43B3-948B-1728B52AA6E4}">
                <adec:decorative xmlns:adec="http://schemas.microsoft.com/office/drawing/2017/decorative" val="1"/>
              </a:ext>
            </a:extLst>
          </p:cNvPr>
          <p:cNvSpPr/>
          <p:nvPr/>
        </p:nvSpPr>
        <p:spPr>
          <a:xfrm>
            <a:off x="7405884" y="3910267"/>
            <a:ext cx="1798572" cy="132741"/>
          </a:xfrm>
          <a:prstGeom prst="roundRect">
            <a:avLst/>
          </a:prstGeom>
          <a:solidFill>
            <a:srgbClr val="FF0000">
              <a:alpha val="2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Arrow Connector 7">
            <a:extLst>
              <a:ext uri="{FF2B5EF4-FFF2-40B4-BE49-F238E27FC236}">
                <a16:creationId xmlns:a16="http://schemas.microsoft.com/office/drawing/2014/main" id="{D7BDEF59-F464-4C68-BBB6-15CAD1397FF0}"/>
              </a:ext>
              <a:ext uri="{C183D7F6-B498-43B3-948B-1728B52AA6E4}">
                <adec:decorative xmlns:adec="http://schemas.microsoft.com/office/drawing/2017/decorative" val="1"/>
              </a:ext>
            </a:extLst>
          </p:cNvPr>
          <p:cNvCxnSpPr>
            <a:cxnSpLocks/>
          </p:cNvCxnSpPr>
          <p:nvPr/>
        </p:nvCxnSpPr>
        <p:spPr>
          <a:xfrm flipH="1">
            <a:off x="8924846" y="1360264"/>
            <a:ext cx="1586975" cy="2441715"/>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91823850"/>
      </p:ext>
    </p:extLst>
  </p:cSld>
  <p:clrMapOvr>
    <a:masterClrMapping/>
  </p:clrMapOvr>
  <p:transition spd="med">
    <p:fade/>
  </p:transition>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B45A142-4255-493C-8284-5D566C121B1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36884" y="321177"/>
            <a:ext cx="4332307" cy="6179552"/>
          </a:xfrm>
          <a:prstGeom prst="rect">
            <a:avLst/>
          </a:prstGeom>
          <a:solidFill>
            <a:srgbClr val="404040">
              <a:alpha val="89804"/>
            </a:srgbClr>
          </a:solidFill>
          <a:ln w="127000" cap="sq" cmpd="thinThick">
            <a:solidFill>
              <a:srgbClr val="595959">
                <a:alpha val="8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 name="Straight Connector 10">
            <a:extLst>
              <a:ext uri="{FF2B5EF4-FFF2-40B4-BE49-F238E27FC236}">
                <a16:creationId xmlns:a16="http://schemas.microsoft.com/office/drawing/2014/main" id="{38FB9660-F42F-4313-BBC4-47C007FE484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191126" y="3910267"/>
            <a:ext cx="258679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sp>
        <p:nvSpPr>
          <p:cNvPr id="2" name="Title 1" descr="Import each table used">
            <a:extLst>
              <a:ext uri="{FF2B5EF4-FFF2-40B4-BE49-F238E27FC236}">
                <a16:creationId xmlns:a16="http://schemas.microsoft.com/office/drawing/2014/main" id="{481FF277-E5F0-429D-925D-775DD21E5260}"/>
              </a:ext>
            </a:extLst>
          </p:cNvPr>
          <p:cNvSpPr>
            <a:spLocks noGrp="1"/>
          </p:cNvSpPr>
          <p:nvPr>
            <p:ph type="title"/>
          </p:nvPr>
        </p:nvSpPr>
        <p:spPr>
          <a:xfrm>
            <a:off x="674237" y="914400"/>
            <a:ext cx="3657600" cy="2887579"/>
          </a:xfrm>
        </p:spPr>
        <p:txBody>
          <a:bodyPr vert="horz" lIns="91440" tIns="45720" rIns="91440" bIns="45720" rtlCol="0" anchor="b">
            <a:normAutofit/>
          </a:bodyPr>
          <a:lstStyle/>
          <a:p>
            <a:pPr algn="ctr"/>
            <a:r>
              <a:rPr lang="en-US" kern="1200" dirty="0">
                <a:solidFill>
                  <a:srgbClr val="FFFFFF"/>
                </a:solidFill>
                <a:latin typeface="+mj-lt"/>
                <a:ea typeface="+mj-ea"/>
                <a:cs typeface="+mj-cs"/>
              </a:rPr>
              <a:t>Import each table used</a:t>
            </a:r>
          </a:p>
        </p:txBody>
      </p:sp>
      <p:pic>
        <p:nvPicPr>
          <p:cNvPr id="4" name="Picture 3" descr="Import each table used">
            <a:extLst>
              <a:ext uri="{FF2B5EF4-FFF2-40B4-BE49-F238E27FC236}">
                <a16:creationId xmlns:a16="http://schemas.microsoft.com/office/drawing/2014/main" id="{500E79A1-26C3-45EF-95AB-95F3E975F04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53822" y="1012004"/>
            <a:ext cx="6553545" cy="4841934"/>
          </a:xfrm>
          <a:prstGeom prst="rect">
            <a:avLst/>
          </a:prstGeom>
        </p:spPr>
      </p:pic>
      <p:sp>
        <p:nvSpPr>
          <p:cNvPr id="13" name="Rectangle 12">
            <a:extLst>
              <a:ext uri="{FF2B5EF4-FFF2-40B4-BE49-F238E27FC236}">
                <a16:creationId xmlns:a16="http://schemas.microsoft.com/office/drawing/2014/main" id="{7D158EB4-3ECE-4188-8615-A3B9CF14FC8A}"/>
              </a:ext>
            </a:extLst>
          </p:cNvPr>
          <p:cNvSpPr/>
          <p:nvPr/>
        </p:nvSpPr>
        <p:spPr>
          <a:xfrm>
            <a:off x="7522812" y="321177"/>
            <a:ext cx="3827360" cy="469852"/>
          </a:xfrm>
          <a:prstGeom prst="rect">
            <a:avLst/>
          </a:pr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The database schema must be included in the table import along with the username and password.</a:t>
            </a:r>
          </a:p>
        </p:txBody>
      </p:sp>
      <p:sp>
        <p:nvSpPr>
          <p:cNvPr id="5" name="Rectangle: Rounded Corners 4">
            <a:extLst>
              <a:ext uri="{FF2B5EF4-FFF2-40B4-BE49-F238E27FC236}">
                <a16:creationId xmlns:a16="http://schemas.microsoft.com/office/drawing/2014/main" id="{CEDEFFFA-C28C-49C7-BEF8-65BA8B32979A}"/>
              </a:ext>
              <a:ext uri="{C183D7F6-B498-43B3-948B-1728B52AA6E4}">
                <adec:decorative xmlns:adec="http://schemas.microsoft.com/office/drawing/2017/decorative" val="1"/>
              </a:ext>
            </a:extLst>
          </p:cNvPr>
          <p:cNvSpPr/>
          <p:nvPr/>
        </p:nvSpPr>
        <p:spPr>
          <a:xfrm>
            <a:off x="5937642" y="4360126"/>
            <a:ext cx="1332954" cy="233589"/>
          </a:xfrm>
          <a:prstGeom prst="roundRect">
            <a:avLst/>
          </a:prstGeom>
          <a:solidFill>
            <a:srgbClr val="FF0000">
              <a:alpha val="2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Rounded Corners 6">
            <a:extLst>
              <a:ext uri="{FF2B5EF4-FFF2-40B4-BE49-F238E27FC236}">
                <a16:creationId xmlns:a16="http://schemas.microsoft.com/office/drawing/2014/main" id="{E7453613-C5C8-44E5-8BB5-19A406878C47}"/>
              </a:ext>
              <a:ext uri="{C183D7F6-B498-43B3-948B-1728B52AA6E4}">
                <adec:decorative xmlns:adec="http://schemas.microsoft.com/office/drawing/2017/decorative" val="1"/>
              </a:ext>
            </a:extLst>
          </p:cNvPr>
          <p:cNvSpPr/>
          <p:nvPr/>
        </p:nvSpPr>
        <p:spPr>
          <a:xfrm>
            <a:off x="7270595" y="4360125"/>
            <a:ext cx="1509131" cy="233589"/>
          </a:xfrm>
          <a:prstGeom prst="roundRect">
            <a:avLst/>
          </a:prstGeom>
          <a:solidFill>
            <a:srgbClr val="FF0000">
              <a:alpha val="2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2">
            <a:extLst>
              <a:ext uri="{FF2B5EF4-FFF2-40B4-BE49-F238E27FC236}">
                <a16:creationId xmlns:a16="http://schemas.microsoft.com/office/drawing/2014/main" id="{077B2798-2FC6-456C-9CB8-3C34C9F71079}"/>
              </a:ext>
              <a:ext uri="{C183D7F6-B498-43B3-948B-1728B52AA6E4}">
                <adec:decorative xmlns:adec="http://schemas.microsoft.com/office/drawing/2017/decorative" val="1"/>
              </a:ext>
            </a:extLst>
          </p:cNvPr>
          <p:cNvSpPr/>
          <p:nvPr/>
        </p:nvSpPr>
        <p:spPr>
          <a:xfrm>
            <a:off x="9033963" y="3568390"/>
            <a:ext cx="1581999" cy="233589"/>
          </a:xfrm>
          <a:prstGeom prst="roundRect">
            <a:avLst/>
          </a:prstGeom>
          <a:solidFill>
            <a:srgbClr val="FF0000">
              <a:alpha val="2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Arrow Connector 14">
            <a:extLst>
              <a:ext uri="{FF2B5EF4-FFF2-40B4-BE49-F238E27FC236}">
                <a16:creationId xmlns:a16="http://schemas.microsoft.com/office/drawing/2014/main" id="{93B6668B-CB33-41F4-8FFE-51C65297082C}"/>
              </a:ext>
              <a:ext uri="{C183D7F6-B498-43B3-948B-1728B52AA6E4}">
                <adec:decorative xmlns:adec="http://schemas.microsoft.com/office/drawing/2017/decorative" val="1"/>
              </a:ext>
            </a:extLst>
          </p:cNvPr>
          <p:cNvCxnSpPr>
            <a:cxnSpLocks/>
          </p:cNvCxnSpPr>
          <p:nvPr/>
        </p:nvCxnSpPr>
        <p:spPr>
          <a:xfrm flipH="1">
            <a:off x="7176302" y="791029"/>
            <a:ext cx="1715482" cy="3569097"/>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81A20F17-17E4-42C5-A5B3-5DBC8A3F1076}"/>
              </a:ext>
              <a:ext uri="{C183D7F6-B498-43B3-948B-1728B52AA6E4}">
                <adec:decorative xmlns:adec="http://schemas.microsoft.com/office/drawing/2017/decorative" val="1"/>
              </a:ext>
            </a:extLst>
          </p:cNvPr>
          <p:cNvCxnSpPr>
            <a:cxnSpLocks/>
          </p:cNvCxnSpPr>
          <p:nvPr/>
        </p:nvCxnSpPr>
        <p:spPr>
          <a:xfrm flipH="1">
            <a:off x="9824962" y="791029"/>
            <a:ext cx="1075268" cy="2777361"/>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57542047"/>
      </p:ext>
    </p:extLst>
  </p:cSld>
  <p:clrMapOvr>
    <a:masterClrMapping/>
  </p:clrMapOvr>
  <p:transition spd="med">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54B388-2259-4F1F-B142-739CBE157B9D}"/>
              </a:ext>
            </a:extLst>
          </p:cNvPr>
          <p:cNvSpPr>
            <a:spLocks noGrp="1"/>
          </p:cNvSpPr>
          <p:nvPr>
            <p:ph type="title"/>
          </p:nvPr>
        </p:nvSpPr>
        <p:spPr/>
        <p:txBody>
          <a:bodyPr/>
          <a:lstStyle/>
          <a:p>
            <a:r>
              <a:rPr lang="en-US" dirty="0"/>
              <a:t>DataStage ODBC.ini driver parameters</a:t>
            </a:r>
          </a:p>
        </p:txBody>
      </p:sp>
      <p:sp>
        <p:nvSpPr>
          <p:cNvPr id="6" name="TextBox 5">
            <a:extLst>
              <a:ext uri="{FF2B5EF4-FFF2-40B4-BE49-F238E27FC236}">
                <a16:creationId xmlns:a16="http://schemas.microsoft.com/office/drawing/2014/main" id="{18BD1A0D-23E0-4295-A550-57780D3DB0DA}"/>
              </a:ext>
            </a:extLst>
          </p:cNvPr>
          <p:cNvSpPr txBox="1"/>
          <p:nvPr/>
        </p:nvSpPr>
        <p:spPr>
          <a:xfrm>
            <a:off x="400957" y="1214321"/>
            <a:ext cx="5078010" cy="1815882"/>
          </a:xfrm>
          <a:prstGeom prst="rect">
            <a:avLst/>
          </a:prstGeom>
          <a:noFill/>
        </p:spPr>
        <p:txBody>
          <a:bodyPr wrap="square" rtlCol="0">
            <a:spAutoFit/>
          </a:bodyPr>
          <a:lstStyle/>
          <a:p>
            <a:pPr marL="457200" indent="-457200">
              <a:buFont typeface="Arial" panose="020B0604020202020204" pitchFamily="34" charset="0"/>
              <a:buChar char="•"/>
            </a:pPr>
            <a:r>
              <a:rPr lang="en-US" sz="2800" dirty="0"/>
              <a:t>In order to utilize the Bulk Load option, the </a:t>
            </a:r>
            <a:r>
              <a:rPr lang="en-US" sz="2800" i="1" dirty="0" err="1"/>
              <a:t>EnableBulkLoad</a:t>
            </a:r>
            <a:r>
              <a:rPr lang="en-US" sz="2800" dirty="0"/>
              <a:t> parameter must be set to 1.</a:t>
            </a:r>
          </a:p>
        </p:txBody>
      </p:sp>
      <p:pic>
        <p:nvPicPr>
          <p:cNvPr id="4" name="Picture 3" descr="A screenshot of a cell phone&#10;&#10;Description generated with very high confidence">
            <a:extLst>
              <a:ext uri="{FF2B5EF4-FFF2-40B4-BE49-F238E27FC236}">
                <a16:creationId xmlns:a16="http://schemas.microsoft.com/office/drawing/2014/main" id="{C20F1651-8054-4908-888E-BF9906E36D3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16043" y="1092292"/>
            <a:ext cx="4930567" cy="5220152"/>
          </a:xfrm>
          <a:prstGeom prst="rect">
            <a:avLst/>
          </a:prstGeom>
        </p:spPr>
      </p:pic>
      <p:sp>
        <p:nvSpPr>
          <p:cNvPr id="7" name="Rectangle 6">
            <a:extLst>
              <a:ext uri="{FF2B5EF4-FFF2-40B4-BE49-F238E27FC236}">
                <a16:creationId xmlns:a16="http://schemas.microsoft.com/office/drawing/2014/main" id="{FD88184B-D547-4E1F-B5E9-938C18D797F1}"/>
              </a:ext>
              <a:ext uri="{C183D7F6-B498-43B3-948B-1728B52AA6E4}">
                <adec:decorative xmlns:adec="http://schemas.microsoft.com/office/drawing/2017/decorative" val="1"/>
              </a:ext>
            </a:extLst>
          </p:cNvPr>
          <p:cNvSpPr/>
          <p:nvPr/>
        </p:nvSpPr>
        <p:spPr>
          <a:xfrm>
            <a:off x="5744812" y="4096215"/>
            <a:ext cx="1808281" cy="260195"/>
          </a:xfrm>
          <a:prstGeom prst="rect">
            <a:avLst/>
          </a:prstGeom>
          <a:solidFill>
            <a:srgbClr val="FFFF00">
              <a:alpha val="4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Arrow Connector 7">
            <a:extLst>
              <a:ext uri="{FF2B5EF4-FFF2-40B4-BE49-F238E27FC236}">
                <a16:creationId xmlns:a16="http://schemas.microsoft.com/office/drawing/2014/main" id="{F10FF29E-FC3E-4138-BA4C-A3A3C384BE33}"/>
              </a:ext>
              <a:ext uri="{C183D7F6-B498-43B3-948B-1728B52AA6E4}">
                <adec:decorative xmlns:adec="http://schemas.microsoft.com/office/drawing/2017/decorative" val="1"/>
              </a:ext>
            </a:extLst>
          </p:cNvPr>
          <p:cNvCxnSpPr>
            <a:cxnSpLocks/>
          </p:cNvCxnSpPr>
          <p:nvPr/>
        </p:nvCxnSpPr>
        <p:spPr>
          <a:xfrm flipH="1">
            <a:off x="7028033" y="1908711"/>
            <a:ext cx="1564304" cy="2262767"/>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05585259"/>
      </p:ext>
    </p:extLst>
  </p:cSld>
  <p:clrMapOvr>
    <a:masterClrMapping/>
  </p:clrMapOvr>
  <p:transition spd="med">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54B388-2259-4F1F-B142-739CBE157B9D}"/>
              </a:ext>
            </a:extLst>
          </p:cNvPr>
          <p:cNvSpPr>
            <a:spLocks noGrp="1"/>
          </p:cNvSpPr>
          <p:nvPr>
            <p:ph type="title"/>
          </p:nvPr>
        </p:nvSpPr>
        <p:spPr/>
        <p:txBody>
          <a:bodyPr/>
          <a:lstStyle/>
          <a:p>
            <a:r>
              <a:rPr lang="en-US" b="1" dirty="0"/>
              <a:t>Credits</a:t>
            </a:r>
          </a:p>
        </p:txBody>
      </p:sp>
      <p:sp>
        <p:nvSpPr>
          <p:cNvPr id="5" name="TextBox 4">
            <a:extLst>
              <a:ext uri="{FF2B5EF4-FFF2-40B4-BE49-F238E27FC236}">
                <a16:creationId xmlns:a16="http://schemas.microsoft.com/office/drawing/2014/main" id="{0E4723E8-1D68-4685-AFD9-A0477FF79717}"/>
              </a:ext>
            </a:extLst>
          </p:cNvPr>
          <p:cNvSpPr txBox="1"/>
          <p:nvPr/>
        </p:nvSpPr>
        <p:spPr>
          <a:xfrm>
            <a:off x="493026" y="1580108"/>
            <a:ext cx="9550400" cy="3970318"/>
          </a:xfrm>
          <a:prstGeom prst="rect">
            <a:avLst/>
          </a:prstGeom>
          <a:noFill/>
        </p:spPr>
        <p:txBody>
          <a:bodyPr wrap="square" rtlCol="0">
            <a:spAutoFit/>
          </a:bodyPr>
          <a:lstStyle/>
          <a:p>
            <a:r>
              <a:rPr lang="en-US" sz="2800" b="1" dirty="0"/>
              <a:t>Prepared by</a:t>
            </a:r>
          </a:p>
          <a:p>
            <a:r>
              <a:rPr lang="en-US" sz="2800" dirty="0"/>
              <a:t>Data Migration Jumpstart Engineering Team</a:t>
            </a:r>
          </a:p>
          <a:p>
            <a:r>
              <a:rPr lang="en-US" sz="2800" dirty="0"/>
              <a:t>Advanced Solutions Delivery – Data &amp; AI CTO</a:t>
            </a:r>
          </a:p>
          <a:p>
            <a:endParaRPr lang="en-US" sz="2800" dirty="0"/>
          </a:p>
          <a:p>
            <a:r>
              <a:rPr lang="en-US" sz="2800" dirty="0">
                <a:hlinkClick r:id="rId3"/>
              </a:rPr>
              <a:t>askdmjfordmtools@microsoft.com</a:t>
            </a:r>
            <a:endParaRPr lang="en-US" sz="2800" dirty="0"/>
          </a:p>
          <a:p>
            <a:r>
              <a:rPr lang="en-US" sz="2800" dirty="0">
                <a:hlinkClick r:id="rId4"/>
              </a:rPr>
              <a:t>dmjarchitects@microsoft.com</a:t>
            </a:r>
            <a:endParaRPr lang="en-US" sz="2800" dirty="0"/>
          </a:p>
          <a:p>
            <a:endParaRPr lang="en-US" sz="2800" dirty="0"/>
          </a:p>
          <a:p>
            <a:r>
              <a:rPr lang="en-US" sz="2800" dirty="0"/>
              <a:t>Revision 2</a:t>
            </a:r>
          </a:p>
          <a:p>
            <a:r>
              <a:rPr lang="en-US" sz="2800" dirty="0"/>
              <a:t>3/26/2020</a:t>
            </a:r>
          </a:p>
        </p:txBody>
      </p:sp>
    </p:spTree>
    <p:extLst>
      <p:ext uri="{BB962C8B-B14F-4D97-AF65-F5344CB8AC3E}">
        <p14:creationId xmlns:p14="http://schemas.microsoft.com/office/powerpoint/2010/main" val="85554003"/>
      </p:ext>
    </p:extLst>
  </p:cSld>
  <p:clrMapOvr>
    <a:masterClrMapping/>
  </p:clrMapOvr>
  <p:transition spd="med">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54B388-2259-4F1F-B142-739CBE157B9D}"/>
              </a:ext>
            </a:extLst>
          </p:cNvPr>
          <p:cNvSpPr>
            <a:spLocks noGrp="1"/>
          </p:cNvSpPr>
          <p:nvPr>
            <p:ph type="title"/>
          </p:nvPr>
        </p:nvSpPr>
        <p:spPr/>
        <p:txBody>
          <a:bodyPr>
            <a:normAutofit/>
          </a:bodyPr>
          <a:lstStyle/>
          <a:p>
            <a:r>
              <a:rPr lang="en-US" b="1" dirty="0"/>
              <a:t>Converted Sample Job – Update and Insert</a:t>
            </a:r>
          </a:p>
        </p:txBody>
      </p:sp>
      <p:pic>
        <p:nvPicPr>
          <p:cNvPr id="3" name="Picture 2" descr="Converted Sample Job – Update and Insert">
            <a:extLst>
              <a:ext uri="{FF2B5EF4-FFF2-40B4-BE49-F238E27FC236}">
                <a16:creationId xmlns:a16="http://schemas.microsoft.com/office/drawing/2014/main" id="{BC3E2732-B071-448E-9549-B703EDC902F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9771" y="1804851"/>
            <a:ext cx="10905066" cy="4116663"/>
          </a:xfrm>
          <a:prstGeom prst="rect">
            <a:avLst/>
          </a:prstGeom>
        </p:spPr>
      </p:pic>
    </p:spTree>
    <p:extLst>
      <p:ext uri="{BB962C8B-B14F-4D97-AF65-F5344CB8AC3E}">
        <p14:creationId xmlns:p14="http://schemas.microsoft.com/office/powerpoint/2010/main" val="887590150"/>
      </p:ext>
    </p:extLst>
  </p:cSld>
  <p:clrMapOvr>
    <a:masterClrMapping/>
  </p:clrMapOvr>
  <p:transition spd="med">
    <p:fade/>
  </p:transition>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B45A142-4255-493C-8284-5D566C121B1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36884" y="321177"/>
            <a:ext cx="4332307" cy="6179552"/>
          </a:xfrm>
          <a:prstGeom prst="rect">
            <a:avLst/>
          </a:prstGeom>
          <a:solidFill>
            <a:srgbClr val="404040">
              <a:alpha val="89804"/>
            </a:srgbClr>
          </a:solidFill>
          <a:ln w="127000" cap="sq" cmpd="thinThick">
            <a:solidFill>
              <a:srgbClr val="595959">
                <a:alpha val="8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descr="Change to Azure Synapse Analytics Source">
            <a:extLst>
              <a:ext uri="{FF2B5EF4-FFF2-40B4-BE49-F238E27FC236}">
                <a16:creationId xmlns:a16="http://schemas.microsoft.com/office/drawing/2014/main" id="{25CE53AE-EE64-4F46-BA0B-3A5A360C305E}"/>
              </a:ext>
            </a:extLst>
          </p:cNvPr>
          <p:cNvSpPr>
            <a:spLocks noGrp="1"/>
          </p:cNvSpPr>
          <p:nvPr>
            <p:ph type="title"/>
          </p:nvPr>
        </p:nvSpPr>
        <p:spPr>
          <a:xfrm>
            <a:off x="674237" y="914400"/>
            <a:ext cx="3657600" cy="2887579"/>
          </a:xfrm>
        </p:spPr>
        <p:txBody>
          <a:bodyPr vert="horz" lIns="91440" tIns="45720" rIns="91440" bIns="45720" rtlCol="0" anchor="b">
            <a:normAutofit/>
          </a:bodyPr>
          <a:lstStyle/>
          <a:p>
            <a:pPr algn="ctr"/>
            <a:r>
              <a:rPr lang="en-US" kern="1200" dirty="0">
                <a:solidFill>
                  <a:srgbClr val="FFFFFF"/>
                </a:solidFill>
                <a:latin typeface="+mj-lt"/>
                <a:ea typeface="+mj-ea"/>
                <a:cs typeface="+mj-cs"/>
              </a:rPr>
              <a:t>Utilize same method of pulling information</a:t>
            </a:r>
          </a:p>
        </p:txBody>
      </p:sp>
      <p:cxnSp>
        <p:nvCxnSpPr>
          <p:cNvPr id="12" name="Straight Connector 11">
            <a:extLst>
              <a:ext uri="{FF2B5EF4-FFF2-40B4-BE49-F238E27FC236}">
                <a16:creationId xmlns:a16="http://schemas.microsoft.com/office/drawing/2014/main" id="{38FB9660-F42F-4313-BBC4-47C007FE484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191126" y="3910267"/>
            <a:ext cx="258679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pic>
        <p:nvPicPr>
          <p:cNvPr id="5" name="Picture 4" descr="Utilize same method of pulling information">
            <a:extLst>
              <a:ext uri="{FF2B5EF4-FFF2-40B4-BE49-F238E27FC236}">
                <a16:creationId xmlns:a16="http://schemas.microsoft.com/office/drawing/2014/main" id="{33D56437-269C-4AFE-8762-AF1E2CE6DAEB}"/>
              </a:ext>
            </a:extLst>
          </p:cNvPr>
          <p:cNvPicPr>
            <a:picLocks noChangeAspect="1"/>
          </p:cNvPicPr>
          <p:nvPr/>
        </p:nvPicPr>
        <p:blipFill>
          <a:blip r:embed="rId3"/>
          <a:stretch>
            <a:fillRect/>
          </a:stretch>
        </p:blipFill>
        <p:spPr>
          <a:xfrm>
            <a:off x="5968012" y="492573"/>
            <a:ext cx="4925165" cy="5880796"/>
          </a:xfrm>
          <a:prstGeom prst="rect">
            <a:avLst/>
          </a:prstGeom>
        </p:spPr>
      </p:pic>
      <p:cxnSp>
        <p:nvCxnSpPr>
          <p:cNvPr id="8" name="Straight Arrow Connector 7">
            <a:extLst>
              <a:ext uri="{FF2B5EF4-FFF2-40B4-BE49-F238E27FC236}">
                <a16:creationId xmlns:a16="http://schemas.microsoft.com/office/drawing/2014/main" id="{7343EB19-74A6-42AA-A9B9-2EECDCAE6996}"/>
              </a:ext>
              <a:ext uri="{C183D7F6-B498-43B3-948B-1728B52AA6E4}">
                <adec:decorative xmlns:adec="http://schemas.microsoft.com/office/drawing/2017/decorative" val="1"/>
              </a:ext>
            </a:extLst>
          </p:cNvPr>
          <p:cNvCxnSpPr>
            <a:cxnSpLocks/>
            <a:stCxn id="9" idx="2"/>
          </p:cNvCxnSpPr>
          <p:nvPr/>
        </p:nvCxnSpPr>
        <p:spPr>
          <a:xfrm flipH="1">
            <a:off x="9579428" y="516207"/>
            <a:ext cx="1836630" cy="3114149"/>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AC70BC01-3EBF-4D81-B347-2A3FDBA9EDC5}"/>
              </a:ext>
            </a:extLst>
          </p:cNvPr>
          <p:cNvSpPr/>
          <p:nvPr/>
        </p:nvSpPr>
        <p:spPr>
          <a:xfrm>
            <a:off x="10701229" y="46355"/>
            <a:ext cx="1429658" cy="469852"/>
          </a:xfrm>
          <a:prstGeom prst="rect">
            <a:avLst/>
          </a:pr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Data pulled by "user defined SQL" statement.</a:t>
            </a:r>
            <a:endParaRPr lang="en-US" sz="1200" dirty="0"/>
          </a:p>
        </p:txBody>
      </p:sp>
    </p:spTree>
    <p:extLst>
      <p:ext uri="{BB962C8B-B14F-4D97-AF65-F5344CB8AC3E}">
        <p14:creationId xmlns:p14="http://schemas.microsoft.com/office/powerpoint/2010/main" val="3067263964"/>
      </p:ext>
    </p:extLst>
  </p:cSld>
  <p:clrMapOvr>
    <a:masterClrMapping/>
  </p:clrMapOvr>
  <p:transition spd="med">
    <p:fade/>
  </p:transition>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B45A142-4255-493C-8284-5D566C121B1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36884" y="321177"/>
            <a:ext cx="4332307" cy="6179552"/>
          </a:xfrm>
          <a:prstGeom prst="rect">
            <a:avLst/>
          </a:prstGeom>
          <a:solidFill>
            <a:srgbClr val="404040">
              <a:alpha val="89804"/>
            </a:srgbClr>
          </a:solidFill>
          <a:ln w="127000" cap="sq" cmpd="thinThick">
            <a:solidFill>
              <a:srgbClr val="595959">
                <a:alpha val="8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descr="For updating data, first, ingest into staging table using Bulk Insert.">
            <a:extLst>
              <a:ext uri="{FF2B5EF4-FFF2-40B4-BE49-F238E27FC236}">
                <a16:creationId xmlns:a16="http://schemas.microsoft.com/office/drawing/2014/main" id="{7E86FDCA-B75B-4086-A59F-32E47E3AC988}"/>
              </a:ext>
            </a:extLst>
          </p:cNvPr>
          <p:cNvSpPr>
            <a:spLocks noGrp="1"/>
          </p:cNvSpPr>
          <p:nvPr>
            <p:ph type="title"/>
          </p:nvPr>
        </p:nvSpPr>
        <p:spPr>
          <a:xfrm>
            <a:off x="674237" y="914400"/>
            <a:ext cx="3657600" cy="2887579"/>
          </a:xfrm>
        </p:spPr>
        <p:txBody>
          <a:bodyPr vert="horz" lIns="91440" tIns="45720" rIns="91440" bIns="45720" rtlCol="0" anchor="b">
            <a:normAutofit fontScale="90000"/>
          </a:bodyPr>
          <a:lstStyle/>
          <a:p>
            <a:pPr algn="ctr"/>
            <a:r>
              <a:rPr lang="en-US" kern="1200" dirty="0">
                <a:solidFill>
                  <a:srgbClr val="FFFFFF"/>
                </a:solidFill>
                <a:latin typeface="+mj-lt"/>
                <a:ea typeface="+mj-ea"/>
                <a:cs typeface="+mj-cs"/>
              </a:rPr>
              <a:t>For updating data, first, ingest into staging table using Bulk Insert.</a:t>
            </a:r>
          </a:p>
        </p:txBody>
      </p:sp>
      <p:cxnSp>
        <p:nvCxnSpPr>
          <p:cNvPr id="11" name="Straight Connector 10">
            <a:extLst>
              <a:ext uri="{FF2B5EF4-FFF2-40B4-BE49-F238E27FC236}">
                <a16:creationId xmlns:a16="http://schemas.microsoft.com/office/drawing/2014/main" id="{38FB9660-F42F-4313-BBC4-47C007FE484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191126" y="3910267"/>
            <a:ext cx="258679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pic>
        <p:nvPicPr>
          <p:cNvPr id="4" name="Picture 3" descr="For updating data, first, ingest into staging table using Bulk Insert.">
            <a:extLst>
              <a:ext uri="{FF2B5EF4-FFF2-40B4-BE49-F238E27FC236}">
                <a16:creationId xmlns:a16="http://schemas.microsoft.com/office/drawing/2014/main" id="{7AB9E732-8169-4530-A2DD-89CF8A81486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70934" y="492573"/>
            <a:ext cx="4919321" cy="5880796"/>
          </a:xfrm>
          <a:prstGeom prst="rect">
            <a:avLst/>
          </a:prstGeom>
        </p:spPr>
      </p:pic>
      <p:cxnSp>
        <p:nvCxnSpPr>
          <p:cNvPr id="6" name="Straight Arrow Connector 5">
            <a:extLst>
              <a:ext uri="{FF2B5EF4-FFF2-40B4-BE49-F238E27FC236}">
                <a16:creationId xmlns:a16="http://schemas.microsoft.com/office/drawing/2014/main" id="{83851FCF-363C-45F6-9959-774C9E3F9322}"/>
              </a:ext>
              <a:ext uri="{C183D7F6-B498-43B3-948B-1728B52AA6E4}">
                <adec:decorative xmlns:adec="http://schemas.microsoft.com/office/drawing/2017/decorative" val="1"/>
              </a:ext>
            </a:extLst>
          </p:cNvPr>
          <p:cNvCxnSpPr>
            <a:cxnSpLocks/>
            <a:stCxn id="7" idx="2"/>
          </p:cNvCxnSpPr>
          <p:nvPr/>
        </p:nvCxnSpPr>
        <p:spPr>
          <a:xfrm flipH="1">
            <a:off x="8824686" y="516207"/>
            <a:ext cx="2591372" cy="2568079"/>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B263ABA7-9AC0-43B5-8127-9DE48BF48C4B}"/>
              </a:ext>
              <a:ext uri="{C183D7F6-B498-43B3-948B-1728B52AA6E4}">
                <adec:decorative xmlns:adec="http://schemas.microsoft.com/office/drawing/2017/decorative" val="1"/>
              </a:ext>
            </a:extLst>
          </p:cNvPr>
          <p:cNvSpPr/>
          <p:nvPr/>
        </p:nvSpPr>
        <p:spPr>
          <a:xfrm>
            <a:off x="10701229" y="46355"/>
            <a:ext cx="1429658" cy="469852"/>
          </a:xfrm>
          <a:prstGeom prst="rect">
            <a:avLst/>
          </a:pr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Load into Stage Table</a:t>
            </a:r>
            <a:endParaRPr lang="en-US" sz="1200" dirty="0"/>
          </a:p>
        </p:txBody>
      </p:sp>
      <p:sp>
        <p:nvSpPr>
          <p:cNvPr id="5" name="Rectangle: Rounded Corners 4">
            <a:extLst>
              <a:ext uri="{FF2B5EF4-FFF2-40B4-BE49-F238E27FC236}">
                <a16:creationId xmlns:a16="http://schemas.microsoft.com/office/drawing/2014/main" id="{88C9EEE8-8132-4222-A168-D47BCEC82F9C}"/>
              </a:ext>
              <a:ext uri="{C183D7F6-B498-43B3-948B-1728B52AA6E4}">
                <adec:decorative xmlns:adec="http://schemas.microsoft.com/office/drawing/2017/decorative" val="1"/>
              </a:ext>
            </a:extLst>
          </p:cNvPr>
          <p:cNvSpPr/>
          <p:nvPr/>
        </p:nvSpPr>
        <p:spPr>
          <a:xfrm>
            <a:off x="7837715" y="3026228"/>
            <a:ext cx="391886" cy="174851"/>
          </a:xfrm>
          <a:prstGeom prst="roundRect">
            <a:avLst/>
          </a:prstGeom>
          <a:solidFill>
            <a:srgbClr val="FF0000">
              <a:alpha val="2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 name="Straight Arrow Connector 11">
            <a:extLst>
              <a:ext uri="{FF2B5EF4-FFF2-40B4-BE49-F238E27FC236}">
                <a16:creationId xmlns:a16="http://schemas.microsoft.com/office/drawing/2014/main" id="{8802DB89-598C-4B40-AC7C-19F44A5B6327}"/>
              </a:ext>
              <a:ext uri="{C183D7F6-B498-43B3-948B-1728B52AA6E4}">
                <adec:decorative xmlns:adec="http://schemas.microsoft.com/office/drawing/2017/decorative" val="1"/>
              </a:ext>
            </a:extLst>
          </p:cNvPr>
          <p:cNvCxnSpPr>
            <a:cxnSpLocks/>
            <a:stCxn id="16" idx="2"/>
          </p:cNvCxnSpPr>
          <p:nvPr/>
        </p:nvCxnSpPr>
        <p:spPr>
          <a:xfrm flipH="1">
            <a:off x="8563431" y="2353744"/>
            <a:ext cx="2954332" cy="3256027"/>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4278708E-4E6D-4F43-91BD-3ACCB58CCB48}"/>
              </a:ext>
              <a:ext uri="{C183D7F6-B498-43B3-948B-1728B52AA6E4}">
                <adec:decorative xmlns:adec="http://schemas.microsoft.com/office/drawing/2017/decorative" val="1"/>
              </a:ext>
            </a:extLst>
          </p:cNvPr>
          <p:cNvSpPr/>
          <p:nvPr/>
        </p:nvSpPr>
        <p:spPr>
          <a:xfrm>
            <a:off x="10802934" y="1883892"/>
            <a:ext cx="1429658" cy="469852"/>
          </a:xfrm>
          <a:prstGeom prst="rect">
            <a:avLst/>
          </a:pr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Update as an After SQL</a:t>
            </a:r>
            <a:endParaRPr lang="en-US" sz="1200" dirty="0"/>
          </a:p>
        </p:txBody>
      </p:sp>
    </p:spTree>
    <p:extLst>
      <p:ext uri="{BB962C8B-B14F-4D97-AF65-F5344CB8AC3E}">
        <p14:creationId xmlns:p14="http://schemas.microsoft.com/office/powerpoint/2010/main" val="1289014307"/>
      </p:ext>
    </p:extLst>
  </p:cSld>
  <p:clrMapOvr>
    <a:masterClrMapping/>
  </p:clrMapOvr>
  <p:transition spd="med">
    <p:fade/>
  </p:transition>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B45A142-4255-493C-8284-5D566C121B1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36884" y="321177"/>
            <a:ext cx="4332307" cy="6179552"/>
          </a:xfrm>
          <a:prstGeom prst="rect">
            <a:avLst/>
          </a:prstGeom>
          <a:solidFill>
            <a:srgbClr val="404040">
              <a:alpha val="89804"/>
            </a:srgbClr>
          </a:solidFill>
          <a:ln w="127000" cap="sq" cmpd="thinThick">
            <a:solidFill>
              <a:srgbClr val="595959">
                <a:alpha val="8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descr="&#10;Using &quot;After SQL&quot; for Updating">
            <a:extLst>
              <a:ext uri="{FF2B5EF4-FFF2-40B4-BE49-F238E27FC236}">
                <a16:creationId xmlns:a16="http://schemas.microsoft.com/office/drawing/2014/main" id="{E84F2794-D239-4D92-8ED4-A443B7B4042B}"/>
              </a:ext>
            </a:extLst>
          </p:cNvPr>
          <p:cNvSpPr>
            <a:spLocks noGrp="1"/>
          </p:cNvSpPr>
          <p:nvPr>
            <p:ph type="title"/>
          </p:nvPr>
        </p:nvSpPr>
        <p:spPr>
          <a:xfrm>
            <a:off x="674237" y="914400"/>
            <a:ext cx="3657600" cy="2887579"/>
          </a:xfrm>
        </p:spPr>
        <p:txBody>
          <a:bodyPr vert="horz" lIns="91440" tIns="45720" rIns="91440" bIns="45720" rtlCol="0" anchor="b">
            <a:normAutofit/>
          </a:bodyPr>
          <a:lstStyle/>
          <a:p>
            <a:pPr algn="ctr"/>
            <a:r>
              <a:rPr lang="en-US" kern="1200" dirty="0">
                <a:solidFill>
                  <a:srgbClr val="FFFFFF"/>
                </a:solidFill>
                <a:latin typeface="+mj-lt"/>
                <a:ea typeface="+mj-ea"/>
                <a:cs typeface="+mj-cs"/>
              </a:rPr>
              <a:t>Detail example of the Update statement.</a:t>
            </a:r>
          </a:p>
        </p:txBody>
      </p:sp>
      <p:cxnSp>
        <p:nvCxnSpPr>
          <p:cNvPr id="11" name="Straight Connector 10">
            <a:extLst>
              <a:ext uri="{FF2B5EF4-FFF2-40B4-BE49-F238E27FC236}">
                <a16:creationId xmlns:a16="http://schemas.microsoft.com/office/drawing/2014/main" id="{38FB9660-F42F-4313-BBC4-47C007FE484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191126" y="3910267"/>
            <a:ext cx="258679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6432B82A-98F2-4595-8E12-B818E1DD2569}"/>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6096000" y="333361"/>
            <a:ext cx="4760686" cy="6191278"/>
          </a:xfrm>
          <a:prstGeom prst="rect">
            <a:avLst/>
          </a:prstGeom>
        </p:spPr>
      </p:pic>
    </p:spTree>
    <p:extLst>
      <p:ext uri="{BB962C8B-B14F-4D97-AF65-F5344CB8AC3E}">
        <p14:creationId xmlns:p14="http://schemas.microsoft.com/office/powerpoint/2010/main" val="2218888468"/>
      </p:ext>
    </p:extLst>
  </p:cSld>
  <p:clrMapOvr>
    <a:masterClrMapping/>
  </p:clrMapOvr>
  <p:transition spd="med">
    <p:fade/>
  </p:transition>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B45A142-4255-493C-8284-5D566C121B1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36884" y="321177"/>
            <a:ext cx="4332307" cy="6179552"/>
          </a:xfrm>
          <a:prstGeom prst="rect">
            <a:avLst/>
          </a:prstGeom>
          <a:solidFill>
            <a:srgbClr val="404040">
              <a:alpha val="89804"/>
            </a:srgbClr>
          </a:solidFill>
          <a:ln w="127000" cap="sq" cmpd="thinThick">
            <a:solidFill>
              <a:srgbClr val="595959">
                <a:alpha val="8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descr="Similar approach to Insert">
            <a:extLst>
              <a:ext uri="{FF2B5EF4-FFF2-40B4-BE49-F238E27FC236}">
                <a16:creationId xmlns:a16="http://schemas.microsoft.com/office/drawing/2014/main" id="{DF7E3E3F-008B-4969-BF3F-6B9C5BD86BDD}"/>
              </a:ext>
            </a:extLst>
          </p:cNvPr>
          <p:cNvSpPr>
            <a:spLocks noGrp="1"/>
          </p:cNvSpPr>
          <p:nvPr>
            <p:ph type="title"/>
          </p:nvPr>
        </p:nvSpPr>
        <p:spPr>
          <a:xfrm>
            <a:off x="674237" y="914400"/>
            <a:ext cx="3657600" cy="2887579"/>
          </a:xfrm>
        </p:spPr>
        <p:txBody>
          <a:bodyPr vert="horz" lIns="91440" tIns="45720" rIns="91440" bIns="45720" rtlCol="0" anchor="b">
            <a:normAutofit/>
          </a:bodyPr>
          <a:lstStyle/>
          <a:p>
            <a:pPr algn="ctr"/>
            <a:r>
              <a:rPr lang="en-US" kern="1200" dirty="0">
                <a:solidFill>
                  <a:srgbClr val="FFFFFF"/>
                </a:solidFill>
                <a:latin typeface="+mj-lt"/>
                <a:ea typeface="+mj-ea"/>
                <a:cs typeface="+mj-cs"/>
              </a:rPr>
              <a:t>Similar approach to Insert</a:t>
            </a:r>
          </a:p>
        </p:txBody>
      </p:sp>
      <p:cxnSp>
        <p:nvCxnSpPr>
          <p:cNvPr id="11" name="Straight Connector 10">
            <a:extLst>
              <a:ext uri="{FF2B5EF4-FFF2-40B4-BE49-F238E27FC236}">
                <a16:creationId xmlns:a16="http://schemas.microsoft.com/office/drawing/2014/main" id="{38FB9660-F42F-4313-BBC4-47C007FE484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191126" y="3910267"/>
            <a:ext cx="258679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pic>
        <p:nvPicPr>
          <p:cNvPr id="4" name="Picture 3" descr="Similar approach to Insert">
            <a:extLst>
              <a:ext uri="{FF2B5EF4-FFF2-40B4-BE49-F238E27FC236}">
                <a16:creationId xmlns:a16="http://schemas.microsoft.com/office/drawing/2014/main" id="{97458893-9F00-47CB-A546-18CA5A01692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51177" y="492573"/>
            <a:ext cx="4958834" cy="5880796"/>
          </a:xfrm>
          <a:prstGeom prst="rect">
            <a:avLst/>
          </a:prstGeom>
        </p:spPr>
      </p:pic>
      <p:cxnSp>
        <p:nvCxnSpPr>
          <p:cNvPr id="6" name="Straight Arrow Connector 5">
            <a:extLst>
              <a:ext uri="{FF2B5EF4-FFF2-40B4-BE49-F238E27FC236}">
                <a16:creationId xmlns:a16="http://schemas.microsoft.com/office/drawing/2014/main" id="{4BB12624-9945-45E5-84B9-0084FEBC4A88}"/>
              </a:ext>
              <a:ext uri="{C183D7F6-B498-43B3-948B-1728B52AA6E4}">
                <adec:decorative xmlns:adec="http://schemas.microsoft.com/office/drawing/2017/decorative" val="1"/>
              </a:ext>
            </a:extLst>
          </p:cNvPr>
          <p:cNvCxnSpPr>
            <a:cxnSpLocks/>
            <a:stCxn id="7" idx="2"/>
          </p:cNvCxnSpPr>
          <p:nvPr/>
        </p:nvCxnSpPr>
        <p:spPr>
          <a:xfrm flipH="1">
            <a:off x="8824686" y="516207"/>
            <a:ext cx="2591372" cy="2568079"/>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DF137DA6-9530-4FEC-B009-CEE821977544}"/>
              </a:ext>
              <a:ext uri="{C183D7F6-B498-43B3-948B-1728B52AA6E4}">
                <adec:decorative xmlns:adec="http://schemas.microsoft.com/office/drawing/2017/decorative" val="1"/>
              </a:ext>
            </a:extLst>
          </p:cNvPr>
          <p:cNvSpPr/>
          <p:nvPr/>
        </p:nvSpPr>
        <p:spPr>
          <a:xfrm>
            <a:off x="10701229" y="46355"/>
            <a:ext cx="1429658" cy="469852"/>
          </a:xfrm>
          <a:prstGeom prst="rect">
            <a:avLst/>
          </a:pr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Load into Stage Table</a:t>
            </a:r>
            <a:endParaRPr lang="en-US" sz="1200" dirty="0"/>
          </a:p>
        </p:txBody>
      </p:sp>
      <p:sp>
        <p:nvSpPr>
          <p:cNvPr id="3" name="Rectangle: Rounded Corners 2">
            <a:extLst>
              <a:ext uri="{FF2B5EF4-FFF2-40B4-BE49-F238E27FC236}">
                <a16:creationId xmlns:a16="http://schemas.microsoft.com/office/drawing/2014/main" id="{3FAB2FD6-CED4-435B-8980-60B29B150E7B}"/>
              </a:ext>
              <a:ext uri="{C183D7F6-B498-43B3-948B-1728B52AA6E4}">
                <adec:decorative xmlns:adec="http://schemas.microsoft.com/office/drawing/2017/decorative" val="1"/>
              </a:ext>
            </a:extLst>
          </p:cNvPr>
          <p:cNvSpPr/>
          <p:nvPr/>
        </p:nvSpPr>
        <p:spPr>
          <a:xfrm>
            <a:off x="7772401" y="5283199"/>
            <a:ext cx="391886" cy="174851"/>
          </a:xfrm>
          <a:prstGeom prst="roundRect">
            <a:avLst/>
          </a:prstGeom>
          <a:solidFill>
            <a:srgbClr val="FF0000">
              <a:alpha val="2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10873077"/>
      </p:ext>
    </p:extLst>
  </p:cSld>
  <p:clrMapOvr>
    <a:masterClrMapping/>
  </p:clrMapOvr>
  <p:transition spd="med">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54B388-2259-4F1F-B142-739CBE157B9D}"/>
              </a:ext>
            </a:extLst>
          </p:cNvPr>
          <p:cNvSpPr>
            <a:spLocks noGrp="1"/>
          </p:cNvSpPr>
          <p:nvPr>
            <p:ph type="title"/>
          </p:nvPr>
        </p:nvSpPr>
        <p:spPr/>
        <p:txBody>
          <a:bodyPr/>
          <a:lstStyle/>
          <a:p>
            <a:r>
              <a:rPr lang="en-US" b="1" dirty="0"/>
              <a:t>Changes to Transformers</a:t>
            </a:r>
          </a:p>
        </p:txBody>
      </p:sp>
      <p:sp>
        <p:nvSpPr>
          <p:cNvPr id="5" name="TextBox 4">
            <a:extLst>
              <a:ext uri="{FF2B5EF4-FFF2-40B4-BE49-F238E27FC236}">
                <a16:creationId xmlns:a16="http://schemas.microsoft.com/office/drawing/2014/main" id="{0E4723E8-1D68-4685-AFD9-A0477FF79717}"/>
              </a:ext>
            </a:extLst>
          </p:cNvPr>
          <p:cNvSpPr txBox="1"/>
          <p:nvPr/>
        </p:nvSpPr>
        <p:spPr>
          <a:xfrm>
            <a:off x="379185" y="1320800"/>
            <a:ext cx="9550400" cy="3108543"/>
          </a:xfrm>
          <a:prstGeom prst="rect">
            <a:avLst/>
          </a:prstGeom>
          <a:noFill/>
        </p:spPr>
        <p:txBody>
          <a:bodyPr wrap="square" rtlCol="0">
            <a:spAutoFit/>
          </a:bodyPr>
          <a:lstStyle/>
          <a:p>
            <a:pPr marL="457200" indent="-457200">
              <a:buFont typeface="Arial" panose="020B0604020202020204" pitchFamily="34" charset="0"/>
              <a:buChar char="•"/>
            </a:pPr>
            <a:r>
              <a:rPr lang="en-US" sz="2800" dirty="0"/>
              <a:t>When changing the sources and targets, assure that you are replacing the existing stages by deleting them and then pasting the new ones in.</a:t>
            </a:r>
          </a:p>
          <a:p>
            <a:pPr marL="457200" indent="-457200">
              <a:buFont typeface="Arial" panose="020B0604020202020204" pitchFamily="34" charset="0"/>
              <a:buChar char="•"/>
            </a:pPr>
            <a:r>
              <a:rPr lang="en-US" sz="2800" dirty="0"/>
              <a:t>Do not delete the connection arrows.</a:t>
            </a:r>
          </a:p>
          <a:p>
            <a:pPr marL="457200" indent="-457200">
              <a:buFont typeface="Arial" panose="020B0604020202020204" pitchFamily="34" charset="0"/>
              <a:buChar char="•"/>
            </a:pPr>
            <a:r>
              <a:rPr lang="en-US" sz="2800" dirty="0"/>
              <a:t>Open each Transformer processing module and change necessary sources and/or targets information</a:t>
            </a:r>
          </a:p>
          <a:p>
            <a:pPr marL="457200" indent="-457200">
              <a:buFont typeface="Arial" panose="020B0604020202020204" pitchFamily="34" charset="0"/>
              <a:buChar char="•"/>
            </a:pPr>
            <a:endParaRPr lang="en-US" sz="2800" dirty="0"/>
          </a:p>
        </p:txBody>
      </p:sp>
    </p:spTree>
    <p:extLst>
      <p:ext uri="{BB962C8B-B14F-4D97-AF65-F5344CB8AC3E}">
        <p14:creationId xmlns:p14="http://schemas.microsoft.com/office/powerpoint/2010/main" val="1845375147"/>
      </p:ext>
    </p:extLst>
  </p:cSld>
  <p:clrMapOvr>
    <a:masterClrMapping/>
  </p:clrMapOvr>
  <p:transition spd="med">
    <p:fade/>
  </p:transition>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AB45A142-4255-493C-8284-5D566C121B1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36884" y="321177"/>
            <a:ext cx="4332307" cy="6179552"/>
          </a:xfrm>
          <a:prstGeom prst="rect">
            <a:avLst/>
          </a:prstGeom>
          <a:solidFill>
            <a:srgbClr val="404040">
              <a:alpha val="89804"/>
            </a:srgbClr>
          </a:solidFill>
          <a:ln w="127000" cap="sq" cmpd="thinThick">
            <a:solidFill>
              <a:srgbClr val="595959">
                <a:alpha val="8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F7E3E3F-008B-4969-BF3F-6B9C5BD86BDD}"/>
              </a:ext>
            </a:extLst>
          </p:cNvPr>
          <p:cNvSpPr>
            <a:spLocks noGrp="1"/>
          </p:cNvSpPr>
          <p:nvPr>
            <p:ph type="title"/>
          </p:nvPr>
        </p:nvSpPr>
        <p:spPr>
          <a:xfrm>
            <a:off x="674237" y="914400"/>
            <a:ext cx="3657600" cy="2887579"/>
          </a:xfrm>
        </p:spPr>
        <p:txBody>
          <a:bodyPr vert="horz" lIns="91440" tIns="45720" rIns="91440" bIns="45720" rtlCol="0" anchor="b">
            <a:normAutofit/>
          </a:bodyPr>
          <a:lstStyle/>
          <a:p>
            <a:pPr algn="ctr"/>
            <a:r>
              <a:rPr lang="en-US" kern="1200" dirty="0">
                <a:solidFill>
                  <a:srgbClr val="FFFFFF"/>
                </a:solidFill>
                <a:latin typeface="+mj-lt"/>
                <a:ea typeface="+mj-ea"/>
                <a:cs typeface="+mj-cs"/>
              </a:rPr>
              <a:t>Change Transformer Processor</a:t>
            </a:r>
          </a:p>
        </p:txBody>
      </p:sp>
      <p:cxnSp>
        <p:nvCxnSpPr>
          <p:cNvPr id="18" name="Straight Connector 17">
            <a:extLst>
              <a:ext uri="{FF2B5EF4-FFF2-40B4-BE49-F238E27FC236}">
                <a16:creationId xmlns:a16="http://schemas.microsoft.com/office/drawing/2014/main" id="{38FB9660-F42F-4313-BBC4-47C007FE484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191126" y="3910267"/>
            <a:ext cx="258679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pic>
        <p:nvPicPr>
          <p:cNvPr id="5" name="Picture 4" descr="Change Transformer Processor">
            <a:extLst>
              <a:ext uri="{FF2B5EF4-FFF2-40B4-BE49-F238E27FC236}">
                <a16:creationId xmlns:a16="http://schemas.microsoft.com/office/drawing/2014/main" id="{54FC0951-CE2F-4E9C-9769-CE73F3B5568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53822" y="956751"/>
            <a:ext cx="6553545" cy="4952440"/>
          </a:xfrm>
          <a:prstGeom prst="rect">
            <a:avLst/>
          </a:prstGeom>
        </p:spPr>
      </p:pic>
    </p:spTree>
    <p:extLst>
      <p:ext uri="{BB962C8B-B14F-4D97-AF65-F5344CB8AC3E}">
        <p14:creationId xmlns:p14="http://schemas.microsoft.com/office/powerpoint/2010/main" val="1937099985"/>
      </p:ext>
    </p:extLst>
  </p:cSld>
  <p:clrMapOvr>
    <a:masterClrMapping/>
  </p:clrMapOvr>
  <p:transition spd="med">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54B388-2259-4F1F-B142-739CBE157B9D}"/>
              </a:ext>
            </a:extLst>
          </p:cNvPr>
          <p:cNvSpPr>
            <a:spLocks noGrp="1"/>
          </p:cNvSpPr>
          <p:nvPr>
            <p:ph type="title"/>
          </p:nvPr>
        </p:nvSpPr>
        <p:spPr/>
        <p:txBody>
          <a:bodyPr>
            <a:normAutofit fontScale="90000"/>
          </a:bodyPr>
          <a:lstStyle/>
          <a:p>
            <a:r>
              <a:rPr lang="en-US" b="1" dirty="0"/>
              <a:t>Executing Stored Proc on Azure Synapse Analytics</a:t>
            </a:r>
          </a:p>
        </p:txBody>
      </p:sp>
      <p:sp>
        <p:nvSpPr>
          <p:cNvPr id="5" name="TextBox 4">
            <a:extLst>
              <a:ext uri="{FF2B5EF4-FFF2-40B4-BE49-F238E27FC236}">
                <a16:creationId xmlns:a16="http://schemas.microsoft.com/office/drawing/2014/main" id="{0E4723E8-1D68-4685-AFD9-A0477FF79717}"/>
              </a:ext>
            </a:extLst>
          </p:cNvPr>
          <p:cNvSpPr txBox="1"/>
          <p:nvPr/>
        </p:nvSpPr>
        <p:spPr>
          <a:xfrm>
            <a:off x="386442" y="1306286"/>
            <a:ext cx="10804071" cy="2677656"/>
          </a:xfrm>
          <a:prstGeom prst="rect">
            <a:avLst/>
          </a:prstGeom>
          <a:noFill/>
        </p:spPr>
        <p:txBody>
          <a:bodyPr wrap="square" rtlCol="0">
            <a:spAutoFit/>
          </a:bodyPr>
          <a:lstStyle/>
          <a:p>
            <a:pPr marL="457200" indent="-457200">
              <a:buFont typeface="Arial" panose="020B0604020202020204" pitchFamily="34" charset="0"/>
              <a:buChar char="•"/>
            </a:pPr>
            <a:r>
              <a:rPr lang="en-US" sz="2800" dirty="0"/>
              <a:t>If an additional step is required to creating a sequence</a:t>
            </a:r>
          </a:p>
          <a:p>
            <a:pPr marL="457200" indent="-457200">
              <a:buFont typeface="Arial" panose="020B0604020202020204" pitchFamily="34" charset="0"/>
              <a:buChar char="•"/>
            </a:pPr>
            <a:r>
              <a:rPr lang="en-US" sz="2800" dirty="0"/>
              <a:t>Create the stored procedure on Azure Synapse Analytics SQL Pool</a:t>
            </a:r>
          </a:p>
          <a:p>
            <a:pPr marL="457200" indent="-457200">
              <a:buFont typeface="Arial" panose="020B0604020202020204" pitchFamily="34" charset="0"/>
              <a:buChar char="•"/>
            </a:pPr>
            <a:r>
              <a:rPr lang="en-US" sz="2800" dirty="0"/>
              <a:t>Create a job to execute the stored procedure</a:t>
            </a:r>
          </a:p>
          <a:p>
            <a:pPr marL="457200" indent="-457200">
              <a:buFont typeface="Arial" panose="020B0604020202020204" pitchFamily="34" charset="0"/>
              <a:buChar char="•"/>
            </a:pPr>
            <a:r>
              <a:rPr lang="en-US" sz="2800" dirty="0"/>
              <a:t>Set up a "Sequence" job to execute the job that inserts and updates and then executes the stored proc</a:t>
            </a:r>
          </a:p>
          <a:p>
            <a:pPr marL="457200" indent="-457200">
              <a:buFont typeface="Arial" panose="020B0604020202020204" pitchFamily="34" charset="0"/>
              <a:buChar char="•"/>
            </a:pPr>
            <a:endParaRPr lang="en-US" sz="2800" dirty="0"/>
          </a:p>
        </p:txBody>
      </p:sp>
    </p:spTree>
    <p:extLst>
      <p:ext uri="{BB962C8B-B14F-4D97-AF65-F5344CB8AC3E}">
        <p14:creationId xmlns:p14="http://schemas.microsoft.com/office/powerpoint/2010/main" val="494809007"/>
      </p:ext>
    </p:extLst>
  </p:cSld>
  <p:clrMapOvr>
    <a:masterClrMapping/>
  </p:clrMapOvr>
  <p:transition spd="med">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descr="Stored Procedure to Build Key and Insert">
            <a:extLst>
              <a:ext uri="{FF2B5EF4-FFF2-40B4-BE49-F238E27FC236}">
                <a16:creationId xmlns:a16="http://schemas.microsoft.com/office/drawing/2014/main" id="{82F902FB-BEC3-4ADA-87B8-F04BC2535E6E}"/>
              </a:ext>
            </a:extLst>
          </p:cNvPr>
          <p:cNvSpPr>
            <a:spLocks noGrp="1"/>
          </p:cNvSpPr>
          <p:nvPr>
            <p:ph type="title"/>
          </p:nvPr>
        </p:nvSpPr>
        <p:spPr/>
        <p:txBody>
          <a:bodyPr/>
          <a:lstStyle/>
          <a:p>
            <a:r>
              <a:rPr lang="en-US" dirty="0"/>
              <a:t>Stored Procedure to Build Key and Insert</a:t>
            </a:r>
          </a:p>
        </p:txBody>
      </p:sp>
      <p:sp>
        <p:nvSpPr>
          <p:cNvPr id="3" name="TextBox 2">
            <a:extLst>
              <a:ext uri="{FF2B5EF4-FFF2-40B4-BE49-F238E27FC236}">
                <a16:creationId xmlns:a16="http://schemas.microsoft.com/office/drawing/2014/main" id="{51E099A3-C6A6-41A4-B239-30FD2F84F0CF}"/>
              </a:ext>
            </a:extLst>
          </p:cNvPr>
          <p:cNvSpPr txBox="1"/>
          <p:nvPr/>
        </p:nvSpPr>
        <p:spPr>
          <a:xfrm>
            <a:off x="686406" y="1183736"/>
            <a:ext cx="10818564" cy="5509200"/>
          </a:xfrm>
          <a:prstGeom prst="rect">
            <a:avLst/>
          </a:prstGeom>
          <a:noFill/>
        </p:spPr>
        <p:txBody>
          <a:bodyPr wrap="square" rtlCol="0">
            <a:spAutoFit/>
          </a:bodyPr>
          <a:lstStyle/>
          <a:p>
            <a:r>
              <a:rPr lang="en-US" sz="800" dirty="0"/>
              <a:t>CREATE PROCEDURE STAGE_INSERT AS</a:t>
            </a:r>
          </a:p>
          <a:p>
            <a:r>
              <a:rPr lang="en-US" sz="800" dirty="0"/>
              <a:t>BEGIN</a:t>
            </a:r>
          </a:p>
          <a:p>
            <a:r>
              <a:rPr lang="en-US" sz="800" dirty="0"/>
              <a:t>DECLARE @</a:t>
            </a:r>
            <a:r>
              <a:rPr lang="en-US" sz="800" dirty="0" err="1"/>
              <a:t>security_id</a:t>
            </a:r>
            <a:r>
              <a:rPr lang="en-US" sz="800" dirty="0"/>
              <a:t> </a:t>
            </a:r>
            <a:r>
              <a:rPr lang="en-US" sz="800" dirty="0" err="1"/>
              <a:t>bigint</a:t>
            </a:r>
            <a:endParaRPr lang="en-US" sz="800" dirty="0"/>
          </a:p>
          <a:p>
            <a:r>
              <a:rPr lang="en-US" sz="800" dirty="0"/>
              <a:t>Select @</a:t>
            </a:r>
            <a:r>
              <a:rPr lang="en-US" sz="800" dirty="0" err="1"/>
              <a:t>security_id</a:t>
            </a:r>
            <a:r>
              <a:rPr lang="en-US" sz="800" dirty="0"/>
              <a:t> = MAX(ROW_ID) FROM </a:t>
            </a:r>
            <a:r>
              <a:rPr lang="en-US" sz="800" dirty="0" err="1"/>
              <a:t>SAMPLE_SCHEMA.W_BDA_SECURITY_DM_Dist</a:t>
            </a:r>
            <a:endParaRPr lang="en-US" sz="800" dirty="0"/>
          </a:p>
          <a:p>
            <a:r>
              <a:rPr lang="en-US" sz="800" dirty="0"/>
              <a:t>--</a:t>
            </a:r>
          </a:p>
          <a:p>
            <a:r>
              <a:rPr lang="en-US" sz="800" dirty="0"/>
              <a:t>if Exists(select 1 from </a:t>
            </a:r>
            <a:r>
              <a:rPr lang="en-US" sz="800" dirty="0" err="1"/>
              <a:t>sys.tables</a:t>
            </a:r>
            <a:r>
              <a:rPr lang="en-US" sz="800" dirty="0"/>
              <a:t> where name = 'W_BDA_SECURITY_DM_4_ROWNUM') Drop Table STAGE.W_BDA_SECURITY_DM_4_ROWNUM</a:t>
            </a:r>
          </a:p>
          <a:p>
            <a:r>
              <a:rPr lang="en-US" sz="800" dirty="0"/>
              <a:t>create table STAGE.W_BDA_SECURITY_DM_4_ROWNUM</a:t>
            </a:r>
          </a:p>
          <a:p>
            <a:r>
              <a:rPr lang="en-US" sz="800" dirty="0"/>
              <a:t>with (distribution = replicate, heap) as</a:t>
            </a:r>
          </a:p>
          <a:p>
            <a:r>
              <a:rPr lang="en-US" sz="800" dirty="0"/>
              <a:t>select (@</a:t>
            </a:r>
            <a:r>
              <a:rPr lang="en-US" sz="800" dirty="0" err="1"/>
              <a:t>security_id</a:t>
            </a:r>
            <a:r>
              <a:rPr lang="en-US" sz="800" dirty="0"/>
              <a:t> +</a:t>
            </a:r>
            <a:r>
              <a:rPr lang="en-US" sz="800" dirty="0" err="1"/>
              <a:t>row_number</a:t>
            </a:r>
            <a:r>
              <a:rPr lang="en-US" sz="800" dirty="0"/>
              <a:t>() over(order by </a:t>
            </a:r>
            <a:r>
              <a:rPr lang="en-US" sz="800" dirty="0" err="1"/>
              <a:t>sec_no</a:t>
            </a:r>
            <a:r>
              <a:rPr lang="en-US" sz="800" dirty="0"/>
              <a:t>, </a:t>
            </a:r>
            <a:r>
              <a:rPr lang="en-US" sz="800" dirty="0" err="1"/>
              <a:t>cusip</a:t>
            </a:r>
            <a:r>
              <a:rPr lang="en-US" sz="800" dirty="0"/>
              <a:t> </a:t>
            </a:r>
            <a:r>
              <a:rPr lang="en-US" sz="800" dirty="0" err="1"/>
              <a:t>asc</a:t>
            </a:r>
            <a:r>
              <a:rPr lang="en-US" sz="800" dirty="0"/>
              <a:t>)) as NEW_ROW_NUM, </a:t>
            </a:r>
          </a:p>
          <a:p>
            <a:r>
              <a:rPr lang="en-US" sz="800" dirty="0"/>
              <a:t>SEC_NO, CUSIP,</a:t>
            </a:r>
          </a:p>
          <a:p>
            <a:r>
              <a:rPr lang="en-US" sz="800" dirty="0"/>
              <a:t>SEC_LONG_NAME,</a:t>
            </a:r>
          </a:p>
          <a:p>
            <a:r>
              <a:rPr lang="en-US" sz="800" dirty="0"/>
              <a:t>SEC_SHORT_NAME,</a:t>
            </a:r>
          </a:p>
          <a:p>
            <a:r>
              <a:rPr lang="en-US" sz="800" dirty="0"/>
              <a:t>SEC_SYMBOL,</a:t>
            </a:r>
          </a:p>
          <a:p>
            <a:r>
              <a:rPr lang="en-US" sz="800" dirty="0"/>
              <a:t>SEC_CLASS_CD,</a:t>
            </a:r>
          </a:p>
          <a:p>
            <a:r>
              <a:rPr lang="en-US" sz="800" dirty="0"/>
              <a:t>OLD_SEC_TYPE_CD,</a:t>
            </a:r>
          </a:p>
          <a:p>
            <a:r>
              <a:rPr lang="en-US" sz="800" dirty="0"/>
              <a:t>NEW_SEC_TYPE_CD,</a:t>
            </a:r>
          </a:p>
          <a:p>
            <a:r>
              <a:rPr lang="en-US" sz="800" dirty="0"/>
              <a:t>SEC_TYPE_DESC,</a:t>
            </a:r>
          </a:p>
          <a:p>
            <a:r>
              <a:rPr lang="en-US" sz="800" dirty="0"/>
              <a:t>MF_IND,MONEY_MARKET_IND,SHARE_CLASS,CURR_PRICE,CURR_PRICE_DT,PAY_FREQ_CD,COUPON_RT,MATURITY_DT</a:t>
            </a:r>
          </a:p>
          <a:p>
            <a:r>
              <a:rPr lang="en-US" sz="800" dirty="0"/>
              <a:t>,MODDY_RT,SP_RT,CALL_PRICE,DIVIDEND,FACTOR_DT,FACTOR,NOTE,INTEGRATION_TSTP</a:t>
            </a:r>
          </a:p>
          <a:p>
            <a:r>
              <a:rPr lang="en-US" sz="800" dirty="0"/>
              <a:t>FROM STAGE.W_BDA_SECURITY_DM_4</a:t>
            </a:r>
          </a:p>
          <a:p>
            <a:endParaRPr lang="en-US" sz="800" dirty="0"/>
          </a:p>
          <a:p>
            <a:r>
              <a:rPr lang="en-US" sz="800" dirty="0"/>
              <a:t>INSERT INTO </a:t>
            </a:r>
            <a:r>
              <a:rPr lang="en-US" sz="800" dirty="0" err="1"/>
              <a:t>SAMPLE_SCHEMA.W_BDA_SECURITY_DM_Dist</a:t>
            </a:r>
            <a:endParaRPr lang="en-US" sz="800" dirty="0"/>
          </a:p>
          <a:p>
            <a:r>
              <a:rPr lang="en-US" sz="800" dirty="0"/>
              <a:t>(ROW_ID,</a:t>
            </a:r>
          </a:p>
          <a:p>
            <a:r>
              <a:rPr lang="en-US" sz="800" dirty="0"/>
              <a:t>SEC_NO,</a:t>
            </a:r>
          </a:p>
          <a:p>
            <a:r>
              <a:rPr lang="en-US" sz="800" dirty="0"/>
              <a:t>CUSIP,</a:t>
            </a:r>
          </a:p>
          <a:p>
            <a:r>
              <a:rPr lang="en-US" sz="800" dirty="0"/>
              <a:t>SEC_LONG_NAME,</a:t>
            </a:r>
          </a:p>
          <a:p>
            <a:r>
              <a:rPr lang="en-US" sz="800" dirty="0"/>
              <a:t>SEC_SHORT_NAME,</a:t>
            </a:r>
          </a:p>
          <a:p>
            <a:r>
              <a:rPr lang="en-US" sz="800" dirty="0"/>
              <a:t>SEC_SYMBOL,</a:t>
            </a:r>
          </a:p>
          <a:p>
            <a:r>
              <a:rPr lang="en-US" sz="800" dirty="0"/>
              <a:t>SEC_CLASS_CD,</a:t>
            </a:r>
          </a:p>
          <a:p>
            <a:r>
              <a:rPr lang="en-US" sz="800" dirty="0"/>
              <a:t>OLD_SEC_TYPE_CD,</a:t>
            </a:r>
          </a:p>
          <a:p>
            <a:r>
              <a:rPr lang="en-US" sz="800" dirty="0"/>
              <a:t>NEW_SEC_TYPE_CD,</a:t>
            </a:r>
          </a:p>
          <a:p>
            <a:r>
              <a:rPr lang="en-US" sz="800" dirty="0"/>
              <a:t>SEC_TYPE_DESC,</a:t>
            </a:r>
          </a:p>
          <a:p>
            <a:r>
              <a:rPr lang="en-US" sz="800" dirty="0"/>
              <a:t>MF_IND,MONEY_MARKET_IND,SHARE_CLASS,CURR_PRICE,CURR_PRICE_DT,PAY_FREQ_CD,COUPON_RT,MATURITY_DT,</a:t>
            </a:r>
          </a:p>
          <a:p>
            <a:r>
              <a:rPr lang="en-US" sz="800" dirty="0"/>
              <a:t>MODDY_RT,SP_RT,CALL_PRICE,DIVIDEND,FACTOR_DT,FACTOR,NOTE,INTEGRATION_TSTP</a:t>
            </a:r>
          </a:p>
          <a:p>
            <a:r>
              <a:rPr lang="en-US" sz="800" dirty="0"/>
              <a:t>) </a:t>
            </a:r>
          </a:p>
          <a:p>
            <a:r>
              <a:rPr lang="en-US" sz="800" dirty="0"/>
              <a:t>SELECT</a:t>
            </a:r>
          </a:p>
          <a:p>
            <a:r>
              <a:rPr lang="en-US" sz="800" dirty="0"/>
              <a:t>B.NEW_ROW_NUM, B.SEC_NO, B.CUSIP, B.SEC_LONG_NAME,</a:t>
            </a:r>
          </a:p>
          <a:p>
            <a:r>
              <a:rPr lang="en-US" sz="800" dirty="0"/>
              <a:t>  B.SEC_SHORT_NAME, B.SEC_SYMBOL,</a:t>
            </a:r>
          </a:p>
          <a:p>
            <a:r>
              <a:rPr lang="en-US" sz="800" dirty="0"/>
              <a:t> B.SEC_CLASS_CD, B.OLD_SEC_TYPE_CD, B.NEW_SEC_TYPE_CD, B.SEC_TYPE_DESC, B.MF_IND, B.MONEY_MARKET_IND,</a:t>
            </a:r>
          </a:p>
          <a:p>
            <a:r>
              <a:rPr lang="en-US" sz="800" dirty="0"/>
              <a:t> B.SHARE_CLASS, B.CURR_PRICE, B.CURR_PRICE_DT, B.PAY_FREQ_CD, B.COUPON_RT, B.MATURITY_DT,</a:t>
            </a:r>
          </a:p>
          <a:p>
            <a:r>
              <a:rPr lang="en-US" sz="800" dirty="0"/>
              <a:t> B.MODDY_RT, B.SP_RT, B.CALL_PRICE, B.DIVIDEND, B.FACTOR_DT, B.FACTOR, B.NOTE, B.INTEGRATION_TSTP</a:t>
            </a:r>
          </a:p>
          <a:p>
            <a:r>
              <a:rPr lang="en-US" sz="800" dirty="0"/>
              <a:t> FROM STAGE.W_BDA_SECURITY_DM_4_ROWNUM B</a:t>
            </a:r>
          </a:p>
          <a:p>
            <a:r>
              <a:rPr lang="en-US" sz="800" dirty="0"/>
              <a:t> END</a:t>
            </a:r>
          </a:p>
          <a:p>
            <a:endParaRPr lang="en-US" sz="800" dirty="0"/>
          </a:p>
        </p:txBody>
      </p:sp>
      <p:sp>
        <p:nvSpPr>
          <p:cNvPr id="5" name="Rectangle: Rounded Corners 4">
            <a:extLst>
              <a:ext uri="{FF2B5EF4-FFF2-40B4-BE49-F238E27FC236}">
                <a16:creationId xmlns:a16="http://schemas.microsoft.com/office/drawing/2014/main" id="{E3F58A5F-0BC8-445E-93BE-73D873B0C7C0}"/>
              </a:ext>
              <a:ext uri="{C183D7F6-B498-43B3-948B-1728B52AA6E4}">
                <adec:decorative xmlns:adec="http://schemas.microsoft.com/office/drawing/2017/decorative" val="1"/>
              </a:ext>
            </a:extLst>
          </p:cNvPr>
          <p:cNvSpPr/>
          <p:nvPr/>
        </p:nvSpPr>
        <p:spPr>
          <a:xfrm>
            <a:off x="686405" y="2177143"/>
            <a:ext cx="4654851" cy="174851"/>
          </a:xfrm>
          <a:prstGeom prst="roundRect">
            <a:avLst/>
          </a:prstGeom>
          <a:solidFill>
            <a:srgbClr val="FF0000">
              <a:alpha val="2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 name="Straight Arrow Connector 5">
            <a:extLst>
              <a:ext uri="{FF2B5EF4-FFF2-40B4-BE49-F238E27FC236}">
                <a16:creationId xmlns:a16="http://schemas.microsoft.com/office/drawing/2014/main" id="{EF90CB13-FA90-484B-AB6E-83B045E8A9F8}"/>
              </a:ext>
              <a:ext uri="{C183D7F6-B498-43B3-948B-1728B52AA6E4}">
                <adec:decorative xmlns:adec="http://schemas.microsoft.com/office/drawing/2017/decorative" val="1"/>
              </a:ext>
            </a:extLst>
          </p:cNvPr>
          <p:cNvCxnSpPr>
            <a:cxnSpLocks/>
            <a:stCxn id="7" idx="2"/>
          </p:cNvCxnSpPr>
          <p:nvPr/>
        </p:nvCxnSpPr>
        <p:spPr>
          <a:xfrm flipH="1">
            <a:off x="3889830" y="1938607"/>
            <a:ext cx="6510228" cy="949736"/>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943F2EDC-C7A9-43F3-B7CE-91A82C5736D9}"/>
              </a:ext>
              <a:ext uri="{C183D7F6-B498-43B3-948B-1728B52AA6E4}">
                <adec:decorative xmlns:adec="http://schemas.microsoft.com/office/drawing/2017/decorative" val="1"/>
              </a:ext>
            </a:extLst>
          </p:cNvPr>
          <p:cNvSpPr/>
          <p:nvPr/>
        </p:nvSpPr>
        <p:spPr>
          <a:xfrm>
            <a:off x="9685229" y="1468755"/>
            <a:ext cx="1429658" cy="469852"/>
          </a:xfrm>
          <a:prstGeom prst="rect">
            <a:avLst/>
          </a:pr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Stage Table with sequencer</a:t>
            </a:r>
            <a:endParaRPr lang="en-US" sz="1200" dirty="0"/>
          </a:p>
        </p:txBody>
      </p:sp>
      <p:cxnSp>
        <p:nvCxnSpPr>
          <p:cNvPr id="10" name="Straight Arrow Connector 9">
            <a:extLst>
              <a:ext uri="{FF2B5EF4-FFF2-40B4-BE49-F238E27FC236}">
                <a16:creationId xmlns:a16="http://schemas.microsoft.com/office/drawing/2014/main" id="{ACEB4E82-DA99-4FA8-97AF-E6FF0189DD54}"/>
              </a:ext>
              <a:ext uri="{C183D7F6-B498-43B3-948B-1728B52AA6E4}">
                <adec:decorative xmlns:adec="http://schemas.microsoft.com/office/drawing/2017/decorative" val="1"/>
              </a:ext>
            </a:extLst>
          </p:cNvPr>
          <p:cNvCxnSpPr>
            <a:cxnSpLocks/>
            <a:stCxn id="11" idx="2"/>
          </p:cNvCxnSpPr>
          <p:nvPr/>
        </p:nvCxnSpPr>
        <p:spPr>
          <a:xfrm flipH="1">
            <a:off x="4020459" y="3898852"/>
            <a:ext cx="6510228" cy="949736"/>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A4861B32-3ECD-429E-8735-24246717DD4C}"/>
              </a:ext>
              <a:ext uri="{C183D7F6-B498-43B3-948B-1728B52AA6E4}">
                <adec:decorative xmlns:adec="http://schemas.microsoft.com/office/drawing/2017/decorative" val="1"/>
              </a:ext>
            </a:extLst>
          </p:cNvPr>
          <p:cNvSpPr/>
          <p:nvPr/>
        </p:nvSpPr>
        <p:spPr>
          <a:xfrm>
            <a:off x="9815858" y="3429000"/>
            <a:ext cx="1429658" cy="469852"/>
          </a:xfrm>
          <a:prstGeom prst="rect">
            <a:avLst/>
          </a:pr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Target Table</a:t>
            </a:r>
            <a:endParaRPr lang="en-US" sz="1200" dirty="0"/>
          </a:p>
        </p:txBody>
      </p:sp>
      <p:sp>
        <p:nvSpPr>
          <p:cNvPr id="13" name="Rectangle: Rounded Corners 12">
            <a:extLst>
              <a:ext uri="{FF2B5EF4-FFF2-40B4-BE49-F238E27FC236}">
                <a16:creationId xmlns:a16="http://schemas.microsoft.com/office/drawing/2014/main" id="{B9C5D46C-E00F-40F9-9640-9F295E928A72}"/>
              </a:ext>
              <a:ext uri="{C183D7F6-B498-43B3-948B-1728B52AA6E4}">
                <adec:decorative xmlns:adec="http://schemas.microsoft.com/office/drawing/2017/decorative" val="1"/>
              </a:ext>
            </a:extLst>
          </p:cNvPr>
          <p:cNvSpPr/>
          <p:nvPr/>
        </p:nvSpPr>
        <p:spPr>
          <a:xfrm>
            <a:off x="686405" y="1194920"/>
            <a:ext cx="4654851" cy="174851"/>
          </a:xfrm>
          <a:prstGeom prst="roundRect">
            <a:avLst/>
          </a:prstGeom>
          <a:solidFill>
            <a:srgbClr val="FF0000">
              <a:alpha val="2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59895862"/>
      </p:ext>
    </p:extLst>
  </p:cSld>
  <p:clrMapOvr>
    <a:masterClrMapping/>
  </p:clrMapOvr>
  <p:transition spd="med">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54B388-2259-4F1F-B142-739CBE157B9D}"/>
              </a:ext>
            </a:extLst>
          </p:cNvPr>
          <p:cNvSpPr>
            <a:spLocks noGrp="1"/>
          </p:cNvSpPr>
          <p:nvPr>
            <p:ph type="title"/>
          </p:nvPr>
        </p:nvSpPr>
        <p:spPr/>
        <p:txBody>
          <a:bodyPr>
            <a:normAutofit/>
          </a:bodyPr>
          <a:lstStyle/>
          <a:p>
            <a:r>
              <a:rPr lang="en-US" b="1" dirty="0"/>
              <a:t>DataStage – Job to Execute Stored Procedure</a:t>
            </a:r>
          </a:p>
        </p:txBody>
      </p:sp>
      <p:pic>
        <p:nvPicPr>
          <p:cNvPr id="3" name="Picture 2" descr="DataStage – Job to Execute Stored Procedure">
            <a:extLst>
              <a:ext uri="{FF2B5EF4-FFF2-40B4-BE49-F238E27FC236}">
                <a16:creationId xmlns:a16="http://schemas.microsoft.com/office/drawing/2014/main" id="{E033E645-4511-4B46-8F87-D01105E50DF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92926" y="2324523"/>
            <a:ext cx="9875520" cy="1861520"/>
          </a:xfrm>
          <a:prstGeom prst="rect">
            <a:avLst/>
          </a:prstGeom>
          <a:effectLst/>
        </p:spPr>
      </p:pic>
    </p:spTree>
    <p:extLst>
      <p:ext uri="{BB962C8B-B14F-4D97-AF65-F5344CB8AC3E}">
        <p14:creationId xmlns:p14="http://schemas.microsoft.com/office/powerpoint/2010/main" val="3379748801"/>
      </p:ext>
    </p:extLst>
  </p:cSld>
  <p:clrMapOvr>
    <a:masterClrMapping/>
  </p:clrMapOvr>
  <p:transition spd="med">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54B388-2259-4F1F-B142-739CBE157B9D}"/>
              </a:ext>
            </a:extLst>
          </p:cNvPr>
          <p:cNvSpPr>
            <a:spLocks noGrp="1"/>
          </p:cNvSpPr>
          <p:nvPr>
            <p:ph type="title"/>
          </p:nvPr>
        </p:nvSpPr>
        <p:spPr/>
        <p:txBody>
          <a:bodyPr/>
          <a:lstStyle/>
          <a:p>
            <a:r>
              <a:rPr lang="en-US" b="1" dirty="0"/>
              <a:t>Disclaimer</a:t>
            </a:r>
          </a:p>
        </p:txBody>
      </p:sp>
      <p:sp>
        <p:nvSpPr>
          <p:cNvPr id="5" name="TextBox 4">
            <a:extLst>
              <a:ext uri="{FF2B5EF4-FFF2-40B4-BE49-F238E27FC236}">
                <a16:creationId xmlns:a16="http://schemas.microsoft.com/office/drawing/2014/main" id="{0E4723E8-1D68-4685-AFD9-A0477FF79717}"/>
              </a:ext>
            </a:extLst>
          </p:cNvPr>
          <p:cNvSpPr txBox="1"/>
          <p:nvPr/>
        </p:nvSpPr>
        <p:spPr>
          <a:xfrm>
            <a:off x="465731" y="1214321"/>
            <a:ext cx="11128042" cy="4401205"/>
          </a:xfrm>
          <a:prstGeom prst="rect">
            <a:avLst/>
          </a:prstGeom>
          <a:noFill/>
        </p:spPr>
        <p:txBody>
          <a:bodyPr wrap="square" rtlCol="0">
            <a:spAutoFit/>
          </a:bodyPr>
          <a:lstStyle/>
          <a:p>
            <a:r>
              <a:rPr lang="en-US" sz="2800" dirty="0"/>
              <a:t>This document is provided "as-is". Information and views expressed in this document, including URL and other Internet Web site references, may change without notice.</a:t>
            </a:r>
          </a:p>
          <a:p>
            <a:r>
              <a:rPr lang="en-US" sz="2800" dirty="0"/>
              <a:t>Some examples depicted herein are provided for illustration only and are fictitious. No real association or connection is intended or should be inferred.</a:t>
            </a:r>
          </a:p>
          <a:p>
            <a:r>
              <a:rPr lang="en-US" sz="2800" dirty="0"/>
              <a:t>This document does not provide you with any legal rights to any intellectual property in any Microsoft product. You may copy and use this document for your internal, reference purposes.</a:t>
            </a:r>
          </a:p>
          <a:p>
            <a:r>
              <a:rPr lang="en-US" sz="2800" dirty="0"/>
              <a:t>© 2020 Microsoft. All rights reserved.</a:t>
            </a:r>
          </a:p>
        </p:txBody>
      </p:sp>
    </p:spTree>
    <p:extLst>
      <p:ext uri="{BB962C8B-B14F-4D97-AF65-F5344CB8AC3E}">
        <p14:creationId xmlns:p14="http://schemas.microsoft.com/office/powerpoint/2010/main" val="445808440"/>
      </p:ext>
    </p:extLst>
  </p:cSld>
  <p:clrMapOvr>
    <a:masterClrMapping/>
  </p:clrMapOvr>
  <p:transition spd="med">
    <p:fade/>
  </p:transition>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B45A142-4255-493C-8284-5D566C121B1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36884" y="321177"/>
            <a:ext cx="4332307" cy="6179552"/>
          </a:xfrm>
          <a:prstGeom prst="rect">
            <a:avLst/>
          </a:prstGeom>
          <a:solidFill>
            <a:srgbClr val="404040">
              <a:alpha val="89804"/>
            </a:srgbClr>
          </a:solidFill>
          <a:ln w="127000" cap="sq" cmpd="thinThick">
            <a:solidFill>
              <a:srgbClr val="595959">
                <a:alpha val="8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0622A92-C579-425D-8B2D-220FE18CCE11}"/>
              </a:ext>
            </a:extLst>
          </p:cNvPr>
          <p:cNvSpPr>
            <a:spLocks noGrp="1"/>
          </p:cNvSpPr>
          <p:nvPr>
            <p:ph type="title"/>
          </p:nvPr>
        </p:nvSpPr>
        <p:spPr>
          <a:xfrm>
            <a:off x="674237" y="914400"/>
            <a:ext cx="3657600" cy="2887579"/>
          </a:xfrm>
        </p:spPr>
        <p:txBody>
          <a:bodyPr vert="horz" lIns="91440" tIns="45720" rIns="91440" bIns="45720" rtlCol="0" anchor="b">
            <a:normAutofit/>
          </a:bodyPr>
          <a:lstStyle/>
          <a:p>
            <a:pPr algn="ctr"/>
            <a:r>
              <a:rPr lang="en-US" kern="1200" dirty="0">
                <a:solidFill>
                  <a:srgbClr val="FFFFFF"/>
                </a:solidFill>
                <a:latin typeface="+mj-lt"/>
                <a:ea typeface="+mj-ea"/>
                <a:cs typeface="+mj-cs"/>
              </a:rPr>
              <a:t>Stored Proc General Setup</a:t>
            </a:r>
          </a:p>
        </p:txBody>
      </p:sp>
      <p:cxnSp>
        <p:nvCxnSpPr>
          <p:cNvPr id="11" name="Straight Connector 10">
            <a:extLst>
              <a:ext uri="{FF2B5EF4-FFF2-40B4-BE49-F238E27FC236}">
                <a16:creationId xmlns:a16="http://schemas.microsoft.com/office/drawing/2014/main" id="{38FB9660-F42F-4313-BBC4-47C007FE484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191126" y="3910267"/>
            <a:ext cx="258679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pic>
        <p:nvPicPr>
          <p:cNvPr id="10" name="Picture 9" descr="Stored Proc General Setup">
            <a:extLst>
              <a:ext uri="{FF2B5EF4-FFF2-40B4-BE49-F238E27FC236}">
                <a16:creationId xmlns:a16="http://schemas.microsoft.com/office/drawing/2014/main" id="{C44890E4-68DB-4DB4-82A3-3207AF9DA56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86079" y="802867"/>
            <a:ext cx="6553545" cy="5252265"/>
          </a:xfrm>
          <a:prstGeom prst="rect">
            <a:avLst/>
          </a:prstGeom>
        </p:spPr>
      </p:pic>
      <p:pic>
        <p:nvPicPr>
          <p:cNvPr id="4" name="Picture 3" descr="Stored Proc General Setup">
            <a:extLst>
              <a:ext uri="{FF2B5EF4-FFF2-40B4-BE49-F238E27FC236}">
                <a16:creationId xmlns:a16="http://schemas.microsoft.com/office/drawing/2014/main" id="{7DA0A8AA-4107-4C83-8073-6833FE84B69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53822" y="806838"/>
            <a:ext cx="6553545" cy="5252265"/>
          </a:xfrm>
          <a:prstGeom prst="rect">
            <a:avLst/>
          </a:prstGeom>
        </p:spPr>
      </p:pic>
      <p:sp>
        <p:nvSpPr>
          <p:cNvPr id="7" name="Rectangle: Rounded Corners 6">
            <a:extLst>
              <a:ext uri="{FF2B5EF4-FFF2-40B4-BE49-F238E27FC236}">
                <a16:creationId xmlns:a16="http://schemas.microsoft.com/office/drawing/2014/main" id="{4205E7F6-672A-4465-869B-177356A7A48F}"/>
              </a:ext>
              <a:ext uri="{C183D7F6-B498-43B3-948B-1728B52AA6E4}">
                <adec:decorative xmlns:adec="http://schemas.microsoft.com/office/drawing/2017/decorative" val="1"/>
              </a:ext>
            </a:extLst>
          </p:cNvPr>
          <p:cNvSpPr/>
          <p:nvPr/>
        </p:nvSpPr>
        <p:spPr>
          <a:xfrm>
            <a:off x="5577719" y="1850571"/>
            <a:ext cx="1817310" cy="174851"/>
          </a:xfrm>
          <a:prstGeom prst="roundRect">
            <a:avLst/>
          </a:prstGeom>
          <a:solidFill>
            <a:srgbClr val="FF0000">
              <a:alpha val="2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55512044"/>
      </p:ext>
    </p:extLst>
  </p:cSld>
  <p:clrMapOvr>
    <a:masterClrMapping/>
  </p:clrMapOvr>
  <p:transition spd="med">
    <p:fade/>
  </p:transition>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B45A142-4255-493C-8284-5D566C121B1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36884" y="321177"/>
            <a:ext cx="4332307" cy="6179552"/>
          </a:xfrm>
          <a:prstGeom prst="rect">
            <a:avLst/>
          </a:prstGeom>
          <a:solidFill>
            <a:srgbClr val="404040">
              <a:alpha val="89804"/>
            </a:srgbClr>
          </a:solidFill>
          <a:ln w="127000" cap="sq" cmpd="thinThick">
            <a:solidFill>
              <a:srgbClr val="595959">
                <a:alpha val="8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B420CD5-F44A-4371-8D37-FB87FAD33FB7}"/>
              </a:ext>
            </a:extLst>
          </p:cNvPr>
          <p:cNvSpPr>
            <a:spLocks noGrp="1"/>
          </p:cNvSpPr>
          <p:nvPr>
            <p:ph type="title"/>
          </p:nvPr>
        </p:nvSpPr>
        <p:spPr>
          <a:xfrm>
            <a:off x="674237" y="914400"/>
            <a:ext cx="3657600" cy="2887579"/>
          </a:xfrm>
        </p:spPr>
        <p:txBody>
          <a:bodyPr vert="horz" lIns="91440" tIns="45720" rIns="91440" bIns="45720" rtlCol="0" anchor="b">
            <a:normAutofit/>
          </a:bodyPr>
          <a:lstStyle/>
          <a:p>
            <a:pPr algn="ctr"/>
            <a:r>
              <a:rPr lang="en-US" kern="1200" dirty="0">
                <a:solidFill>
                  <a:srgbClr val="FFFFFF"/>
                </a:solidFill>
                <a:latin typeface="+mj-lt"/>
                <a:ea typeface="+mj-ea"/>
                <a:cs typeface="+mj-cs"/>
              </a:rPr>
              <a:t>Set Up Syntax for Stored Proc Exec</a:t>
            </a:r>
          </a:p>
        </p:txBody>
      </p:sp>
      <p:cxnSp>
        <p:nvCxnSpPr>
          <p:cNvPr id="11" name="Straight Connector 10">
            <a:extLst>
              <a:ext uri="{FF2B5EF4-FFF2-40B4-BE49-F238E27FC236}">
                <a16:creationId xmlns:a16="http://schemas.microsoft.com/office/drawing/2014/main" id="{38FB9660-F42F-4313-BBC4-47C007FE484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191126" y="3910267"/>
            <a:ext cx="258679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pic>
        <p:nvPicPr>
          <p:cNvPr id="4" name="Picture 3" descr="Set Up Syntax for Stored Proc Exec">
            <a:extLst>
              <a:ext uri="{FF2B5EF4-FFF2-40B4-BE49-F238E27FC236}">
                <a16:creationId xmlns:a16="http://schemas.microsoft.com/office/drawing/2014/main" id="{E1E69D75-5B4A-46A3-A162-A2E6003812E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53822" y="814374"/>
            <a:ext cx="6553545" cy="5237194"/>
          </a:xfrm>
          <a:prstGeom prst="rect">
            <a:avLst/>
          </a:prstGeom>
        </p:spPr>
      </p:pic>
      <p:sp>
        <p:nvSpPr>
          <p:cNvPr id="3" name="Rectangle: Rounded Corners 2">
            <a:extLst>
              <a:ext uri="{FF2B5EF4-FFF2-40B4-BE49-F238E27FC236}">
                <a16:creationId xmlns:a16="http://schemas.microsoft.com/office/drawing/2014/main" id="{8A2F4F2A-8FB5-4EC3-8268-C7C87D207784}"/>
              </a:ext>
              <a:ext uri="{C183D7F6-B498-43B3-948B-1728B52AA6E4}">
                <adec:decorative xmlns:adec="http://schemas.microsoft.com/office/drawing/2017/decorative" val="1"/>
              </a:ext>
            </a:extLst>
          </p:cNvPr>
          <p:cNvSpPr/>
          <p:nvPr/>
        </p:nvSpPr>
        <p:spPr>
          <a:xfrm>
            <a:off x="5933320" y="2119086"/>
            <a:ext cx="728738" cy="174851"/>
          </a:xfrm>
          <a:prstGeom prst="roundRect">
            <a:avLst/>
          </a:prstGeom>
          <a:solidFill>
            <a:srgbClr val="FF0000">
              <a:alpha val="2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 name="Straight Arrow Connector 9">
            <a:extLst>
              <a:ext uri="{FF2B5EF4-FFF2-40B4-BE49-F238E27FC236}">
                <a16:creationId xmlns:a16="http://schemas.microsoft.com/office/drawing/2014/main" id="{5832118C-E917-49B8-B608-04DA146D0D86}"/>
              </a:ext>
              <a:ext uri="{C183D7F6-B498-43B3-948B-1728B52AA6E4}">
                <adec:decorative xmlns:adec="http://schemas.microsoft.com/office/drawing/2017/decorative" val="1"/>
              </a:ext>
            </a:extLst>
          </p:cNvPr>
          <p:cNvCxnSpPr>
            <a:cxnSpLocks/>
            <a:stCxn id="12" idx="2"/>
          </p:cNvCxnSpPr>
          <p:nvPr/>
        </p:nvCxnSpPr>
        <p:spPr>
          <a:xfrm flipH="1">
            <a:off x="6825236" y="764752"/>
            <a:ext cx="2659068" cy="1836742"/>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A040FDAB-6DAB-4017-87E4-8EF847458C6B}"/>
              </a:ext>
              <a:ext uri="{C183D7F6-B498-43B3-948B-1728B52AA6E4}">
                <adec:decorative xmlns:adec="http://schemas.microsoft.com/office/drawing/2017/decorative" val="1"/>
              </a:ext>
            </a:extLst>
          </p:cNvPr>
          <p:cNvSpPr/>
          <p:nvPr/>
        </p:nvSpPr>
        <p:spPr>
          <a:xfrm>
            <a:off x="8769475" y="294900"/>
            <a:ext cx="1429658" cy="469852"/>
          </a:xfrm>
          <a:prstGeom prst="rect">
            <a:avLst/>
          </a:pr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Azure Synapse Stored Procedure Name</a:t>
            </a:r>
            <a:endParaRPr lang="en-US" sz="1200" dirty="0"/>
          </a:p>
        </p:txBody>
      </p:sp>
      <p:cxnSp>
        <p:nvCxnSpPr>
          <p:cNvPr id="13" name="Straight Arrow Connector 12">
            <a:extLst>
              <a:ext uri="{FF2B5EF4-FFF2-40B4-BE49-F238E27FC236}">
                <a16:creationId xmlns:a16="http://schemas.microsoft.com/office/drawing/2014/main" id="{78EE4A59-6777-4DE2-9A9E-6522E794B39B}"/>
              </a:ext>
              <a:ext uri="{C183D7F6-B498-43B3-948B-1728B52AA6E4}">
                <adec:decorative xmlns:adec="http://schemas.microsoft.com/office/drawing/2017/decorative" val="1"/>
              </a:ext>
            </a:extLst>
          </p:cNvPr>
          <p:cNvCxnSpPr>
            <a:cxnSpLocks/>
            <a:stCxn id="14" idx="2"/>
          </p:cNvCxnSpPr>
          <p:nvPr/>
        </p:nvCxnSpPr>
        <p:spPr>
          <a:xfrm flipH="1">
            <a:off x="7057000" y="764752"/>
            <a:ext cx="4253256" cy="2664248"/>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1BC341EB-912D-4A70-A3B2-C362DBD130D4}"/>
              </a:ext>
              <a:ext uri="{C183D7F6-B498-43B3-948B-1728B52AA6E4}">
                <adec:decorative xmlns:adec="http://schemas.microsoft.com/office/drawing/2017/decorative" val="1"/>
              </a:ext>
            </a:extLst>
          </p:cNvPr>
          <p:cNvSpPr/>
          <p:nvPr/>
        </p:nvSpPr>
        <p:spPr>
          <a:xfrm>
            <a:off x="10595427" y="294900"/>
            <a:ext cx="1429658" cy="469852"/>
          </a:xfrm>
          <a:prstGeom prst="rect">
            <a:avLst/>
          </a:pr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T-SQL Stored Procedure Call</a:t>
            </a:r>
            <a:endParaRPr lang="en-US" sz="1200" dirty="0"/>
          </a:p>
        </p:txBody>
      </p:sp>
    </p:spTree>
    <p:extLst>
      <p:ext uri="{BB962C8B-B14F-4D97-AF65-F5344CB8AC3E}">
        <p14:creationId xmlns:p14="http://schemas.microsoft.com/office/powerpoint/2010/main" val="2855558822"/>
      </p:ext>
    </p:extLst>
  </p:cSld>
  <p:clrMapOvr>
    <a:masterClrMapping/>
  </p:clrMapOvr>
  <p:transition spd="med">
    <p:fade/>
  </p:transition>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B45A142-4255-493C-8284-5D566C121B1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36884" y="321177"/>
            <a:ext cx="4332307" cy="6179552"/>
          </a:xfrm>
          <a:prstGeom prst="rect">
            <a:avLst/>
          </a:prstGeom>
          <a:solidFill>
            <a:srgbClr val="404040">
              <a:alpha val="89804"/>
            </a:srgbClr>
          </a:solidFill>
          <a:ln w="127000" cap="sq" cmpd="thinThick">
            <a:solidFill>
              <a:srgbClr val="595959">
                <a:alpha val="8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descr="The properties set up here were defaulted on creation of this process.&#10;">
            <a:extLst>
              <a:ext uri="{FF2B5EF4-FFF2-40B4-BE49-F238E27FC236}">
                <a16:creationId xmlns:a16="http://schemas.microsoft.com/office/drawing/2014/main" id="{C3D04AB5-CD76-4806-8B78-A17CDED9E4F7}"/>
              </a:ext>
            </a:extLst>
          </p:cNvPr>
          <p:cNvSpPr>
            <a:spLocks noGrp="1"/>
          </p:cNvSpPr>
          <p:nvPr>
            <p:ph type="title"/>
          </p:nvPr>
        </p:nvSpPr>
        <p:spPr>
          <a:xfrm>
            <a:off x="674237" y="914400"/>
            <a:ext cx="3657600" cy="2887579"/>
          </a:xfrm>
        </p:spPr>
        <p:txBody>
          <a:bodyPr vert="horz" lIns="91440" tIns="45720" rIns="91440" bIns="45720" rtlCol="0" anchor="b">
            <a:normAutofit/>
          </a:bodyPr>
          <a:lstStyle/>
          <a:p>
            <a:pPr algn="ctr"/>
            <a:r>
              <a:rPr lang="en-US" kern="1200" dirty="0">
                <a:solidFill>
                  <a:srgbClr val="FFFFFF"/>
                </a:solidFill>
                <a:latin typeface="+mj-lt"/>
                <a:ea typeface="+mj-ea"/>
                <a:cs typeface="+mj-cs"/>
              </a:rPr>
              <a:t>Set up "Copy" process Input Properties</a:t>
            </a:r>
          </a:p>
        </p:txBody>
      </p:sp>
      <p:cxnSp>
        <p:nvCxnSpPr>
          <p:cNvPr id="11" name="Straight Connector 10">
            <a:extLst>
              <a:ext uri="{FF2B5EF4-FFF2-40B4-BE49-F238E27FC236}">
                <a16:creationId xmlns:a16="http://schemas.microsoft.com/office/drawing/2014/main" id="{38FB9660-F42F-4313-BBC4-47C007FE484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191126" y="3910267"/>
            <a:ext cx="258679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pic>
        <p:nvPicPr>
          <p:cNvPr id="4" name="Picture 3" descr="A screenshot of a social media post&#10;&#10;Description generated with very high confidence">
            <a:extLst>
              <a:ext uri="{FF2B5EF4-FFF2-40B4-BE49-F238E27FC236}">
                <a16:creationId xmlns:a16="http://schemas.microsoft.com/office/drawing/2014/main" id="{EB6007F0-4761-454A-A455-0AA546CC485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53822" y="749782"/>
            <a:ext cx="6553545" cy="5366378"/>
          </a:xfrm>
          <a:prstGeom prst="rect">
            <a:avLst/>
          </a:prstGeom>
        </p:spPr>
      </p:pic>
      <p:sp>
        <p:nvSpPr>
          <p:cNvPr id="5" name="Rectangle: Rounded Corners 4">
            <a:extLst>
              <a:ext uri="{FF2B5EF4-FFF2-40B4-BE49-F238E27FC236}">
                <a16:creationId xmlns:a16="http://schemas.microsoft.com/office/drawing/2014/main" id="{86B7279E-3831-48CD-9271-CDF99DB3E29C}"/>
              </a:ext>
              <a:ext uri="{C183D7F6-B498-43B3-948B-1728B52AA6E4}">
                <adec:decorative xmlns:adec="http://schemas.microsoft.com/office/drawing/2017/decorative" val="1"/>
              </a:ext>
            </a:extLst>
          </p:cNvPr>
          <p:cNvSpPr/>
          <p:nvPr/>
        </p:nvSpPr>
        <p:spPr>
          <a:xfrm>
            <a:off x="5809949" y="1335315"/>
            <a:ext cx="728738" cy="174851"/>
          </a:xfrm>
          <a:prstGeom prst="roundRect">
            <a:avLst/>
          </a:prstGeom>
          <a:solidFill>
            <a:srgbClr val="FF0000">
              <a:alpha val="2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33161798"/>
      </p:ext>
    </p:extLst>
  </p:cSld>
  <p:clrMapOvr>
    <a:masterClrMapping/>
  </p:clrMapOvr>
  <p:transition spd="med">
    <p:fade/>
  </p:transition>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B45A142-4255-493C-8284-5D566C121B1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36884" y="321177"/>
            <a:ext cx="4332307" cy="6179552"/>
          </a:xfrm>
          <a:prstGeom prst="rect">
            <a:avLst/>
          </a:prstGeom>
          <a:solidFill>
            <a:srgbClr val="404040">
              <a:alpha val="89804"/>
            </a:srgbClr>
          </a:solidFill>
          <a:ln w="127000" cap="sq" cmpd="thinThick">
            <a:solidFill>
              <a:srgbClr val="595959">
                <a:alpha val="8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369CAB6-AFFF-4543-A84C-BF677DB7E2EB}"/>
              </a:ext>
            </a:extLst>
          </p:cNvPr>
          <p:cNvSpPr>
            <a:spLocks noGrp="1"/>
          </p:cNvSpPr>
          <p:nvPr>
            <p:ph type="title"/>
          </p:nvPr>
        </p:nvSpPr>
        <p:spPr>
          <a:xfrm>
            <a:off x="674237" y="914400"/>
            <a:ext cx="3657600" cy="2887579"/>
          </a:xfrm>
        </p:spPr>
        <p:txBody>
          <a:bodyPr vert="horz" lIns="91440" tIns="45720" rIns="91440" bIns="45720" rtlCol="0" anchor="b">
            <a:normAutofit fontScale="90000"/>
          </a:bodyPr>
          <a:lstStyle/>
          <a:p>
            <a:pPr algn="ctr"/>
            <a:r>
              <a:rPr lang="en-US" kern="1200" dirty="0">
                <a:solidFill>
                  <a:srgbClr val="FFFFFF"/>
                </a:solidFill>
                <a:latin typeface="+mj-lt"/>
                <a:ea typeface="+mj-ea"/>
                <a:cs typeface="+mj-cs"/>
              </a:rPr>
              <a:t>Set up "Copy" Process Output Properties for Stored Proc</a:t>
            </a:r>
          </a:p>
        </p:txBody>
      </p:sp>
      <p:cxnSp>
        <p:nvCxnSpPr>
          <p:cNvPr id="11" name="Straight Connector 10">
            <a:extLst>
              <a:ext uri="{FF2B5EF4-FFF2-40B4-BE49-F238E27FC236}">
                <a16:creationId xmlns:a16="http://schemas.microsoft.com/office/drawing/2014/main" id="{38FB9660-F42F-4313-BBC4-47C007FE484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191126" y="3910267"/>
            <a:ext cx="258679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pic>
        <p:nvPicPr>
          <p:cNvPr id="4" name="Picture 3" descr="Set up &quot;Copy&quot; Process Output Properties for Stored Proc">
            <a:extLst>
              <a:ext uri="{FF2B5EF4-FFF2-40B4-BE49-F238E27FC236}">
                <a16:creationId xmlns:a16="http://schemas.microsoft.com/office/drawing/2014/main" id="{A642C3F6-31AA-4331-9E49-678C86338A8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53822" y="823865"/>
            <a:ext cx="6553545" cy="5218212"/>
          </a:xfrm>
          <a:prstGeom prst="rect">
            <a:avLst/>
          </a:prstGeom>
        </p:spPr>
      </p:pic>
      <p:sp>
        <p:nvSpPr>
          <p:cNvPr id="5" name="Rectangle: Rounded Corners 4">
            <a:extLst>
              <a:ext uri="{FF2B5EF4-FFF2-40B4-BE49-F238E27FC236}">
                <a16:creationId xmlns:a16="http://schemas.microsoft.com/office/drawing/2014/main" id="{D5AC9CA7-8D90-4598-A3D1-15622F733DDC}"/>
              </a:ext>
              <a:ext uri="{C183D7F6-B498-43B3-948B-1728B52AA6E4}">
                <adec:decorative xmlns:adec="http://schemas.microsoft.com/office/drawing/2017/decorative" val="1"/>
              </a:ext>
            </a:extLst>
          </p:cNvPr>
          <p:cNvSpPr/>
          <p:nvPr/>
        </p:nvSpPr>
        <p:spPr>
          <a:xfrm>
            <a:off x="6223606" y="1494973"/>
            <a:ext cx="728738" cy="174851"/>
          </a:xfrm>
          <a:prstGeom prst="roundRect">
            <a:avLst/>
          </a:prstGeom>
          <a:solidFill>
            <a:srgbClr val="FF0000">
              <a:alpha val="2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16747941"/>
      </p:ext>
    </p:extLst>
  </p:cSld>
  <p:clrMapOvr>
    <a:masterClrMapping/>
  </p:clrMapOvr>
  <p:transition spd="med">
    <p:fade/>
  </p:transition>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B45A142-4255-493C-8284-5D566C121B1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36884" y="321177"/>
            <a:ext cx="4332307" cy="6179552"/>
          </a:xfrm>
          <a:prstGeom prst="rect">
            <a:avLst/>
          </a:prstGeom>
          <a:solidFill>
            <a:srgbClr val="404040">
              <a:alpha val="89804"/>
            </a:srgbClr>
          </a:solidFill>
          <a:ln w="127000" cap="sq" cmpd="thinThick">
            <a:solidFill>
              <a:srgbClr val="595959">
                <a:alpha val="8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A8CA8D0-8F79-470D-90BC-2BCB3D843306}"/>
              </a:ext>
            </a:extLst>
          </p:cNvPr>
          <p:cNvSpPr>
            <a:spLocks noGrp="1"/>
          </p:cNvSpPr>
          <p:nvPr>
            <p:ph type="title"/>
          </p:nvPr>
        </p:nvSpPr>
        <p:spPr>
          <a:xfrm>
            <a:off x="674237" y="914400"/>
            <a:ext cx="3657600" cy="2887579"/>
          </a:xfrm>
        </p:spPr>
        <p:txBody>
          <a:bodyPr vert="horz" lIns="91440" tIns="45720" rIns="91440" bIns="45720" rtlCol="0" anchor="b">
            <a:normAutofit/>
          </a:bodyPr>
          <a:lstStyle/>
          <a:p>
            <a:pPr algn="ctr"/>
            <a:r>
              <a:rPr lang="en-US" sz="4100" kern="1200" dirty="0">
                <a:solidFill>
                  <a:srgbClr val="FFFFFF"/>
                </a:solidFill>
                <a:latin typeface="+mj-lt"/>
                <a:ea typeface="+mj-ea"/>
                <a:cs typeface="+mj-cs"/>
              </a:rPr>
              <a:t>Set up "Copy" process for Output Mapping</a:t>
            </a:r>
          </a:p>
        </p:txBody>
      </p:sp>
      <p:cxnSp>
        <p:nvCxnSpPr>
          <p:cNvPr id="11" name="Straight Connector 10">
            <a:extLst>
              <a:ext uri="{FF2B5EF4-FFF2-40B4-BE49-F238E27FC236}">
                <a16:creationId xmlns:a16="http://schemas.microsoft.com/office/drawing/2014/main" id="{38FB9660-F42F-4313-BBC4-47C007FE484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191126" y="3910267"/>
            <a:ext cx="258679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pic>
        <p:nvPicPr>
          <p:cNvPr id="4" name="Picture 3" descr="A screenshot of a social media post&#10;&#10;Description generated with very high confidence">
            <a:extLst>
              <a:ext uri="{FF2B5EF4-FFF2-40B4-BE49-F238E27FC236}">
                <a16:creationId xmlns:a16="http://schemas.microsoft.com/office/drawing/2014/main" id="{D331EDED-3353-4F2A-A858-2EF44C3397F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53822" y="879086"/>
            <a:ext cx="6553545" cy="5107770"/>
          </a:xfrm>
          <a:prstGeom prst="rect">
            <a:avLst/>
          </a:prstGeom>
        </p:spPr>
      </p:pic>
      <p:sp>
        <p:nvSpPr>
          <p:cNvPr id="5" name="Rectangle: Rounded Corners 4">
            <a:extLst>
              <a:ext uri="{FF2B5EF4-FFF2-40B4-BE49-F238E27FC236}">
                <a16:creationId xmlns:a16="http://schemas.microsoft.com/office/drawing/2014/main" id="{43A84DE3-113B-494A-BE22-7FCC317DD8DF}"/>
              </a:ext>
              <a:ext uri="{C183D7F6-B498-43B3-948B-1728B52AA6E4}">
                <adec:decorative xmlns:adec="http://schemas.microsoft.com/office/drawing/2017/decorative" val="1"/>
              </a:ext>
            </a:extLst>
          </p:cNvPr>
          <p:cNvSpPr/>
          <p:nvPr/>
        </p:nvSpPr>
        <p:spPr>
          <a:xfrm>
            <a:off x="6223606" y="1494973"/>
            <a:ext cx="728738" cy="174851"/>
          </a:xfrm>
          <a:prstGeom prst="roundRect">
            <a:avLst/>
          </a:prstGeom>
          <a:solidFill>
            <a:srgbClr val="FF0000">
              <a:alpha val="2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26968315"/>
      </p:ext>
    </p:extLst>
  </p:cSld>
  <p:clrMapOvr>
    <a:masterClrMapping/>
  </p:clrMapOvr>
  <p:transition spd="med">
    <p:fade/>
  </p:transition>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B45A142-4255-493C-8284-5D566C121B1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36884" y="321177"/>
            <a:ext cx="4332307" cy="6179552"/>
          </a:xfrm>
          <a:prstGeom prst="rect">
            <a:avLst/>
          </a:prstGeom>
          <a:solidFill>
            <a:srgbClr val="404040">
              <a:alpha val="89804"/>
            </a:srgbClr>
          </a:solidFill>
          <a:ln w="127000" cap="sq" cmpd="thinThick">
            <a:solidFill>
              <a:srgbClr val="595959">
                <a:alpha val="8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6EC8F48-1604-4172-9488-06117EB24CC5}"/>
              </a:ext>
            </a:extLst>
          </p:cNvPr>
          <p:cNvSpPr>
            <a:spLocks noGrp="1"/>
          </p:cNvSpPr>
          <p:nvPr>
            <p:ph type="title"/>
          </p:nvPr>
        </p:nvSpPr>
        <p:spPr>
          <a:xfrm>
            <a:off x="674237" y="914400"/>
            <a:ext cx="3657600" cy="2887579"/>
          </a:xfrm>
        </p:spPr>
        <p:txBody>
          <a:bodyPr vert="horz" lIns="91440" tIns="45720" rIns="91440" bIns="45720" rtlCol="0" anchor="b">
            <a:normAutofit/>
          </a:bodyPr>
          <a:lstStyle/>
          <a:p>
            <a:pPr algn="ctr"/>
            <a:r>
              <a:rPr lang="en-US" kern="1200" dirty="0">
                <a:solidFill>
                  <a:srgbClr val="FFFFFF"/>
                </a:solidFill>
                <a:latin typeface="+mj-lt"/>
                <a:ea typeface="+mj-ea"/>
                <a:cs typeface="+mj-cs"/>
              </a:rPr>
              <a:t>Set up "Copy" process </a:t>
            </a:r>
            <a:r>
              <a:rPr lang="en-US" dirty="0">
                <a:solidFill>
                  <a:srgbClr val="FFFFFF"/>
                </a:solidFill>
              </a:rPr>
              <a:t>Out</a:t>
            </a:r>
            <a:r>
              <a:rPr lang="en-US" kern="1200" dirty="0">
                <a:solidFill>
                  <a:srgbClr val="FFFFFF"/>
                </a:solidFill>
                <a:latin typeface="+mj-lt"/>
                <a:ea typeface="+mj-ea"/>
                <a:cs typeface="+mj-cs"/>
              </a:rPr>
              <a:t>put Columns</a:t>
            </a:r>
          </a:p>
        </p:txBody>
      </p:sp>
      <p:cxnSp>
        <p:nvCxnSpPr>
          <p:cNvPr id="11" name="Straight Connector 10">
            <a:extLst>
              <a:ext uri="{FF2B5EF4-FFF2-40B4-BE49-F238E27FC236}">
                <a16:creationId xmlns:a16="http://schemas.microsoft.com/office/drawing/2014/main" id="{38FB9660-F42F-4313-BBC4-47C007FE484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191126" y="3910267"/>
            <a:ext cx="258679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pic>
        <p:nvPicPr>
          <p:cNvPr id="4" name="Picture 3" descr="A screenshot of a cell phone&#10;&#10;Description generated with very high confidence">
            <a:extLst>
              <a:ext uri="{FF2B5EF4-FFF2-40B4-BE49-F238E27FC236}">
                <a16:creationId xmlns:a16="http://schemas.microsoft.com/office/drawing/2014/main" id="{8995A574-DDEF-4970-B51E-6D89C8B1836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53822" y="788558"/>
            <a:ext cx="6553545" cy="5288826"/>
          </a:xfrm>
          <a:prstGeom prst="rect">
            <a:avLst/>
          </a:prstGeom>
        </p:spPr>
      </p:pic>
    </p:spTree>
    <p:extLst>
      <p:ext uri="{BB962C8B-B14F-4D97-AF65-F5344CB8AC3E}">
        <p14:creationId xmlns:p14="http://schemas.microsoft.com/office/powerpoint/2010/main" val="4207839917"/>
      </p:ext>
    </p:extLst>
  </p:cSld>
  <p:clrMapOvr>
    <a:masterClrMapping/>
  </p:clrMapOvr>
  <p:transition spd="med">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54B388-2259-4F1F-B142-739CBE157B9D}"/>
              </a:ext>
            </a:extLst>
          </p:cNvPr>
          <p:cNvSpPr>
            <a:spLocks noGrp="1"/>
          </p:cNvSpPr>
          <p:nvPr>
            <p:ph type="title"/>
          </p:nvPr>
        </p:nvSpPr>
        <p:spPr/>
        <p:txBody>
          <a:bodyPr>
            <a:normAutofit/>
          </a:bodyPr>
          <a:lstStyle/>
          <a:p>
            <a:r>
              <a:rPr lang="en-US" b="1" dirty="0"/>
              <a:t>Large Data Ingestion in Azure Synapse Strategy</a:t>
            </a:r>
          </a:p>
        </p:txBody>
      </p:sp>
      <p:sp>
        <p:nvSpPr>
          <p:cNvPr id="5" name="TextBox 4">
            <a:extLst>
              <a:ext uri="{FF2B5EF4-FFF2-40B4-BE49-F238E27FC236}">
                <a16:creationId xmlns:a16="http://schemas.microsoft.com/office/drawing/2014/main" id="{0E4723E8-1D68-4685-AFD9-A0477FF79717}"/>
              </a:ext>
            </a:extLst>
          </p:cNvPr>
          <p:cNvSpPr txBox="1"/>
          <p:nvPr/>
        </p:nvSpPr>
        <p:spPr>
          <a:xfrm>
            <a:off x="386442" y="1306286"/>
            <a:ext cx="10804071" cy="3539430"/>
          </a:xfrm>
          <a:prstGeom prst="rect">
            <a:avLst/>
          </a:prstGeom>
          <a:noFill/>
        </p:spPr>
        <p:txBody>
          <a:bodyPr wrap="square" rtlCol="0">
            <a:spAutoFit/>
          </a:bodyPr>
          <a:lstStyle/>
          <a:p>
            <a:pPr marL="457200" indent="-457200">
              <a:buFont typeface="Arial" panose="020B0604020202020204" pitchFamily="34" charset="0"/>
              <a:buChar char="•"/>
            </a:pPr>
            <a:r>
              <a:rPr lang="en-US" sz="2800" dirty="0"/>
              <a:t>Large Data Set ingestion should follow a pattern</a:t>
            </a:r>
          </a:p>
          <a:p>
            <a:pPr marL="914400" lvl="1" indent="-457200">
              <a:buFont typeface="Arial" panose="020B0604020202020204" pitchFamily="34" charset="0"/>
              <a:buChar char="•"/>
            </a:pPr>
            <a:r>
              <a:rPr lang="en-US" sz="2800" dirty="0"/>
              <a:t>Land data intro Azure Blob Container or Data Lake Store</a:t>
            </a:r>
          </a:p>
          <a:p>
            <a:pPr marL="914400" lvl="1" indent="-457200">
              <a:buFont typeface="Arial" panose="020B0604020202020204" pitchFamily="34" charset="0"/>
              <a:buChar char="•"/>
            </a:pPr>
            <a:r>
              <a:rPr lang="en-US" sz="2800" dirty="0"/>
              <a:t>Ingest into a staging table in Azure Synapse Analytics using COPY INTO</a:t>
            </a:r>
          </a:p>
          <a:p>
            <a:pPr marL="914400" lvl="1" indent="-457200">
              <a:buFont typeface="Arial" panose="020B0604020202020204" pitchFamily="34" charset="0"/>
              <a:buChar char="•"/>
            </a:pPr>
            <a:r>
              <a:rPr lang="en-US" sz="2800" dirty="0"/>
              <a:t>CTAS or Insert into Final Table</a:t>
            </a:r>
          </a:p>
          <a:p>
            <a:pPr marL="914400" lvl="1" indent="-457200">
              <a:buFont typeface="Arial" panose="020B0604020202020204" pitchFamily="34" charset="0"/>
              <a:buChar char="•"/>
            </a:pPr>
            <a:r>
              <a:rPr lang="en-US" sz="2800" dirty="0"/>
              <a:t>Refresh statistics as needed</a:t>
            </a:r>
          </a:p>
          <a:p>
            <a:pPr marL="457200" indent="-457200">
              <a:buFont typeface="Arial" panose="020B0604020202020204" pitchFamily="34" charset="0"/>
              <a:buChar char="•"/>
            </a:pPr>
            <a:r>
              <a:rPr lang="en-US" sz="2800" dirty="0"/>
              <a:t>DataStage can orchestrate the reading from source (e.g. flat files) and ingesting into Blob Storage as a first step</a:t>
            </a:r>
          </a:p>
        </p:txBody>
      </p:sp>
      <p:sp>
        <p:nvSpPr>
          <p:cNvPr id="3" name="Rectangle 2">
            <a:extLst>
              <a:ext uri="{FF2B5EF4-FFF2-40B4-BE49-F238E27FC236}">
                <a16:creationId xmlns:a16="http://schemas.microsoft.com/office/drawing/2014/main" id="{F83E1212-C788-4222-8DC4-D95B90F97B5C}"/>
              </a:ext>
            </a:extLst>
          </p:cNvPr>
          <p:cNvSpPr/>
          <p:nvPr/>
        </p:nvSpPr>
        <p:spPr>
          <a:xfrm>
            <a:off x="2481020" y="5726986"/>
            <a:ext cx="869355" cy="528606"/>
          </a:xfrm>
          <a:prstGeom prst="rect">
            <a:avLst/>
          </a:prstGeom>
        </p:spPr>
        <p:txBody>
          <a:bodyPr wrap="square">
            <a:spAutoFit/>
          </a:bodyPr>
          <a:lstStyle/>
          <a:p>
            <a:pPr defTabSz="864017">
              <a:spcAft>
                <a:spcPts val="283"/>
              </a:spcAft>
              <a:buSzPct val="90000"/>
              <a:defRPr/>
            </a:pPr>
            <a:r>
              <a:rPr lang="en-US" sz="945" kern="0" dirty="0">
                <a:solidFill>
                  <a:schemeClr val="tx2"/>
                </a:solidFill>
                <a:latin typeface="Segoe UI Semibold" panose="020B0702040204020203" pitchFamily="34" charset="0"/>
                <a:ea typeface="MS PGothic" panose="020B0600070205080204" pitchFamily="34" charset="-128"/>
                <a:cs typeface="Segoe UI Semibold" panose="020B0702040204020203" pitchFamily="34" charset="0"/>
              </a:rPr>
              <a:t>Azure Blob / Data Lake Store</a:t>
            </a:r>
          </a:p>
        </p:txBody>
      </p:sp>
      <p:grpSp>
        <p:nvGrpSpPr>
          <p:cNvPr id="4" name="Group 3">
            <a:extLst>
              <a:ext uri="{FF2B5EF4-FFF2-40B4-BE49-F238E27FC236}">
                <a16:creationId xmlns:a16="http://schemas.microsoft.com/office/drawing/2014/main" id="{12BAA0D4-CD72-4180-BF7B-43CA0E266B43}"/>
              </a:ext>
            </a:extLst>
          </p:cNvPr>
          <p:cNvGrpSpPr/>
          <p:nvPr/>
        </p:nvGrpSpPr>
        <p:grpSpPr>
          <a:xfrm>
            <a:off x="2573538" y="5254479"/>
            <a:ext cx="479781" cy="411866"/>
            <a:chOff x="2488014" y="1320237"/>
            <a:chExt cx="4696411" cy="4187931"/>
          </a:xfrm>
        </p:grpSpPr>
        <p:sp>
          <p:nvSpPr>
            <p:cNvPr id="8" name="Hexagon 7">
              <a:extLst>
                <a:ext uri="{FF2B5EF4-FFF2-40B4-BE49-F238E27FC236}">
                  <a16:creationId xmlns:a16="http://schemas.microsoft.com/office/drawing/2014/main" id="{F942F23C-A246-4BAA-98E8-6EC9E0E12085}"/>
                </a:ext>
              </a:extLst>
            </p:cNvPr>
            <p:cNvSpPr/>
            <p:nvPr/>
          </p:nvSpPr>
          <p:spPr bwMode="auto">
            <a:xfrm>
              <a:off x="2488014" y="1320237"/>
              <a:ext cx="4696411" cy="4187931"/>
            </a:xfrm>
            <a:prstGeom prst="hexagon">
              <a:avLst/>
            </a:prstGeom>
            <a:no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2805" tIns="138244" rIns="172805" bIns="138244" numCol="1" spcCol="0" rtlCol="0" fromWordArt="0" anchor="t" anchorCtr="0" forceAA="0" compatLnSpc="1">
              <a:prstTxWarp prst="textNoShape">
                <a:avLst/>
              </a:prstTxWarp>
              <a:noAutofit/>
            </a:bodyPr>
            <a:lstStyle/>
            <a:p>
              <a:pPr algn="ctr" defTabSz="881093" fontAlgn="base">
                <a:lnSpc>
                  <a:spcPct val="90000"/>
                </a:lnSpc>
                <a:spcBef>
                  <a:spcPct val="0"/>
                </a:spcBef>
                <a:spcAft>
                  <a:spcPct val="0"/>
                </a:spcAft>
                <a:defRPr/>
              </a:pPr>
              <a:endParaRPr lang="en-US" sz="992">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 name="Snip Single Corner Rectangle 26">
              <a:extLst>
                <a:ext uri="{FF2B5EF4-FFF2-40B4-BE49-F238E27FC236}">
                  <a16:creationId xmlns:a16="http://schemas.microsoft.com/office/drawing/2014/main" id="{53CFEECA-0D66-4A93-A168-28EF4ECFDA03}"/>
                </a:ext>
              </a:extLst>
            </p:cNvPr>
            <p:cNvSpPr/>
            <p:nvPr/>
          </p:nvSpPr>
          <p:spPr bwMode="auto">
            <a:xfrm>
              <a:off x="3677767" y="2189578"/>
              <a:ext cx="2316905" cy="2449240"/>
            </a:xfrm>
            <a:prstGeom prst="snip1Rect">
              <a:avLst>
                <a:gd name="adj" fmla="val 28736"/>
              </a:avLst>
            </a:prstGeom>
            <a:no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86402" rIns="0" bIns="86402" numCol="1" spcCol="0" rtlCol="0" fromWordArt="0" anchor="ctr" anchorCtr="1" forceAA="0" compatLnSpc="1">
              <a:prstTxWarp prst="textNoShape">
                <a:avLst/>
              </a:prstTxWarp>
              <a:noAutofit/>
            </a:bodyPr>
            <a:lstStyle/>
            <a:p>
              <a:pPr algn="ctr" defTabSz="881093" fontAlgn="base">
                <a:lnSpc>
                  <a:spcPct val="90000"/>
                </a:lnSpc>
                <a:spcBef>
                  <a:spcPct val="0"/>
                </a:spcBef>
                <a:spcAft>
                  <a:spcPct val="0"/>
                </a:spcAft>
                <a:defRPr/>
              </a:pPr>
              <a:endParaRPr lang="en-US" sz="567">
                <a:solidFill>
                  <a:srgbClr val="505050"/>
                </a:solidFill>
                <a:latin typeface="Segoe UI Semilight"/>
                <a:ea typeface="Segoe UI" pitchFamily="34" charset="0"/>
                <a:cs typeface="Segoe UI" pitchFamily="34" charset="0"/>
              </a:endParaRPr>
            </a:p>
          </p:txBody>
        </p:sp>
        <p:grpSp>
          <p:nvGrpSpPr>
            <p:cNvPr id="10" name="Group 9">
              <a:extLst>
                <a:ext uri="{FF2B5EF4-FFF2-40B4-BE49-F238E27FC236}">
                  <a16:creationId xmlns:a16="http://schemas.microsoft.com/office/drawing/2014/main" id="{180B5CA2-69ED-4518-AC95-9912D5E8232B}"/>
                </a:ext>
              </a:extLst>
            </p:cNvPr>
            <p:cNvGrpSpPr/>
            <p:nvPr/>
          </p:nvGrpSpPr>
          <p:grpSpPr>
            <a:xfrm>
              <a:off x="4271147" y="2716505"/>
              <a:ext cx="790232" cy="1472558"/>
              <a:chOff x="4917030" y="1019829"/>
              <a:chExt cx="123056" cy="229308"/>
            </a:xfrm>
          </p:grpSpPr>
          <p:sp>
            <p:nvSpPr>
              <p:cNvPr id="12" name="Freeform: Shape 11">
                <a:extLst>
                  <a:ext uri="{FF2B5EF4-FFF2-40B4-BE49-F238E27FC236}">
                    <a16:creationId xmlns:a16="http://schemas.microsoft.com/office/drawing/2014/main" id="{AB2D822C-943B-4489-9D6D-C536F554AF26}"/>
                  </a:ext>
                </a:extLst>
              </p:cNvPr>
              <p:cNvSpPr/>
              <p:nvPr/>
            </p:nvSpPr>
            <p:spPr bwMode="auto">
              <a:xfrm>
                <a:off x="4981844" y="1019829"/>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905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2805" tIns="138244" rIns="172805" bIns="138244" numCol="1" spcCol="0" rtlCol="0" fromWordArt="0" anchor="t" anchorCtr="0" forceAA="0" compatLnSpc="1">
                <a:prstTxWarp prst="textNoShape">
                  <a:avLst/>
                </a:prstTxWarp>
                <a:noAutofit/>
              </a:bodyPr>
              <a:lstStyle/>
              <a:p>
                <a:pPr algn="ctr" defTabSz="881093" fontAlgn="base">
                  <a:lnSpc>
                    <a:spcPct val="90000"/>
                  </a:lnSpc>
                  <a:spcBef>
                    <a:spcPct val="0"/>
                  </a:spcBef>
                  <a:spcAft>
                    <a:spcPct val="0"/>
                  </a:spcAft>
                  <a:defRPr/>
                </a:pPr>
                <a:endParaRPr lang="en-US" sz="2268">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3" name="Freeform: Shape 12">
                <a:extLst>
                  <a:ext uri="{FF2B5EF4-FFF2-40B4-BE49-F238E27FC236}">
                    <a16:creationId xmlns:a16="http://schemas.microsoft.com/office/drawing/2014/main" id="{1901CFE6-C5A6-4565-9A17-4253FB8C0BE3}"/>
                  </a:ext>
                </a:extLst>
              </p:cNvPr>
              <p:cNvSpPr/>
              <p:nvPr/>
            </p:nvSpPr>
            <p:spPr bwMode="auto">
              <a:xfrm>
                <a:off x="4929274" y="1019829"/>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905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2805" tIns="138244" rIns="172805" bIns="138244" numCol="1" spcCol="0" rtlCol="0" fromWordArt="0" anchor="t" anchorCtr="0" forceAA="0" compatLnSpc="1">
                <a:prstTxWarp prst="textNoShape">
                  <a:avLst/>
                </a:prstTxWarp>
                <a:noAutofit/>
              </a:bodyPr>
              <a:lstStyle/>
              <a:p>
                <a:pPr algn="ctr" defTabSz="881093" fontAlgn="base">
                  <a:lnSpc>
                    <a:spcPct val="90000"/>
                  </a:lnSpc>
                  <a:spcBef>
                    <a:spcPct val="0"/>
                  </a:spcBef>
                  <a:spcAft>
                    <a:spcPct val="0"/>
                  </a:spcAft>
                  <a:defRPr/>
                </a:pPr>
                <a:endParaRPr lang="en-US" sz="2268">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4" name="Freeform: Shape 13">
                <a:extLst>
                  <a:ext uri="{FF2B5EF4-FFF2-40B4-BE49-F238E27FC236}">
                    <a16:creationId xmlns:a16="http://schemas.microsoft.com/office/drawing/2014/main" id="{1FBEF095-2099-4796-9863-E6ECA6F448FE}"/>
                  </a:ext>
                </a:extLst>
              </p:cNvPr>
              <p:cNvSpPr/>
              <p:nvPr/>
            </p:nvSpPr>
            <p:spPr bwMode="auto">
              <a:xfrm>
                <a:off x="4917030" y="1156660"/>
                <a:ext cx="58242" cy="92477"/>
              </a:xfrm>
              <a:custGeom>
                <a:avLst/>
                <a:gdLst>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10939 w 60815"/>
                  <a:gd name="connsiteY15" fmla="*/ 49616 h 96562"/>
                  <a:gd name="connsiteX16" fmla="*/ 49876 w 60815"/>
                  <a:gd name="connsiteY16" fmla="*/ 48900 h 96562"/>
                  <a:gd name="connsiteX17" fmla="*/ 30929 w 60815"/>
                  <a:gd name="connsiteY17"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 name="connsiteX14" fmla="*/ 30929 w 60815"/>
                  <a:gd name="connsiteY14" fmla="*/ 9051 h 96562"/>
                  <a:gd name="connsiteX15" fmla="*/ 49876 w 60815"/>
                  <a:gd name="connsiteY15" fmla="*/ 48900 h 96562"/>
                  <a:gd name="connsiteX16" fmla="*/ 30929 w 60815"/>
                  <a:gd name="connsiteY16" fmla="*/ 9051 h 96562"/>
                  <a:gd name="connsiteX0" fmla="*/ 31450 w 60815"/>
                  <a:gd name="connsiteY0" fmla="*/ 0 h 96562"/>
                  <a:gd name="connsiteX1" fmla="*/ 60815 w 60815"/>
                  <a:gd name="connsiteY1" fmla="*/ 47858 h 96562"/>
                  <a:gd name="connsiteX2" fmla="*/ 58699 w 60815"/>
                  <a:gd name="connsiteY2" fmla="*/ 68629 h 96562"/>
                  <a:gd name="connsiteX3" fmla="*/ 52579 w 60815"/>
                  <a:gd name="connsiteY3" fmla="*/ 83898 h 96562"/>
                  <a:gd name="connsiteX4" fmla="*/ 42747 w 60815"/>
                  <a:gd name="connsiteY4" fmla="*/ 93339 h 96562"/>
                  <a:gd name="connsiteX5" fmla="*/ 29496 w 60815"/>
                  <a:gd name="connsiteY5" fmla="*/ 96562 h 96562"/>
                  <a:gd name="connsiteX6" fmla="*/ 16962 w 60815"/>
                  <a:gd name="connsiteY6" fmla="*/ 93469 h 96562"/>
                  <a:gd name="connsiteX7" fmla="*/ 7684 w 60815"/>
                  <a:gd name="connsiteY7" fmla="*/ 84451 h 96562"/>
                  <a:gd name="connsiteX8" fmla="*/ 1954 w 60815"/>
                  <a:gd name="connsiteY8" fmla="*/ 69898 h 96562"/>
                  <a:gd name="connsiteX9" fmla="*/ 0 w 60815"/>
                  <a:gd name="connsiteY9" fmla="*/ 50137 h 96562"/>
                  <a:gd name="connsiteX10" fmla="*/ 2051 w 60815"/>
                  <a:gd name="connsiteY10" fmla="*/ 28520 h 96562"/>
                  <a:gd name="connsiteX11" fmla="*/ 8074 w 60815"/>
                  <a:gd name="connsiteY11" fmla="*/ 12795 h 96562"/>
                  <a:gd name="connsiteX12" fmla="*/ 17939 w 60815"/>
                  <a:gd name="connsiteY12" fmla="*/ 3223 h 96562"/>
                  <a:gd name="connsiteX13" fmla="*/ 31450 w 60815"/>
                  <a:gd name="connsiteY13" fmla="*/ 0 h 9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815" h="96562">
                    <a:moveTo>
                      <a:pt x="31450" y="0"/>
                    </a:moveTo>
                    <a:cubicBezTo>
                      <a:pt x="51027" y="0"/>
                      <a:pt x="60815" y="15953"/>
                      <a:pt x="60815" y="47858"/>
                    </a:cubicBezTo>
                    <a:cubicBezTo>
                      <a:pt x="60815" y="55671"/>
                      <a:pt x="60110" y="62595"/>
                      <a:pt x="58699" y="68629"/>
                    </a:cubicBezTo>
                    <a:cubicBezTo>
                      <a:pt x="57288" y="74662"/>
                      <a:pt x="55248" y="79752"/>
                      <a:pt x="52579" y="83898"/>
                    </a:cubicBezTo>
                    <a:cubicBezTo>
                      <a:pt x="49909" y="88043"/>
                      <a:pt x="46632" y="91190"/>
                      <a:pt x="42747" y="93339"/>
                    </a:cubicBezTo>
                    <a:cubicBezTo>
                      <a:pt x="38862" y="95488"/>
                      <a:pt x="34445" y="96562"/>
                      <a:pt x="29496" y="96562"/>
                    </a:cubicBezTo>
                    <a:cubicBezTo>
                      <a:pt x="24808" y="96562"/>
                      <a:pt x="20630" y="95531"/>
                      <a:pt x="16962" y="93469"/>
                    </a:cubicBezTo>
                    <a:cubicBezTo>
                      <a:pt x="13294" y="91407"/>
                      <a:pt x="10201" y="88401"/>
                      <a:pt x="7684" y="84451"/>
                    </a:cubicBezTo>
                    <a:cubicBezTo>
                      <a:pt x="5166" y="80501"/>
                      <a:pt x="3256" y="75650"/>
                      <a:pt x="1954" y="69898"/>
                    </a:cubicBezTo>
                    <a:cubicBezTo>
                      <a:pt x="652" y="64147"/>
                      <a:pt x="0" y="57560"/>
                      <a:pt x="0" y="50137"/>
                    </a:cubicBezTo>
                    <a:cubicBezTo>
                      <a:pt x="0" y="41976"/>
                      <a:pt x="684" y="34770"/>
                      <a:pt x="2051" y="28520"/>
                    </a:cubicBezTo>
                    <a:cubicBezTo>
                      <a:pt x="3419" y="22269"/>
                      <a:pt x="5426" y="17027"/>
                      <a:pt x="8074" y="12795"/>
                    </a:cubicBezTo>
                    <a:cubicBezTo>
                      <a:pt x="10722" y="8563"/>
                      <a:pt x="14010" y="5372"/>
                      <a:pt x="17939" y="3223"/>
                    </a:cubicBezTo>
                    <a:cubicBezTo>
                      <a:pt x="21867" y="1075"/>
                      <a:pt x="26371" y="0"/>
                      <a:pt x="31450" y="0"/>
                    </a:cubicBezTo>
                    <a:close/>
                  </a:path>
                </a:pathLst>
              </a:custGeom>
              <a:noFill/>
              <a:ln w="1905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2805" tIns="138244" rIns="172805" bIns="138244" numCol="1" spcCol="0" rtlCol="0" fromWordArt="0" anchor="t" anchorCtr="0" forceAA="0" compatLnSpc="1">
                <a:prstTxWarp prst="textNoShape">
                  <a:avLst/>
                </a:prstTxWarp>
                <a:noAutofit/>
              </a:bodyPr>
              <a:lstStyle/>
              <a:p>
                <a:pPr algn="ctr" defTabSz="881093" fontAlgn="base">
                  <a:lnSpc>
                    <a:spcPct val="90000"/>
                  </a:lnSpc>
                  <a:spcBef>
                    <a:spcPct val="0"/>
                  </a:spcBef>
                  <a:spcAft>
                    <a:spcPct val="0"/>
                  </a:spcAft>
                  <a:defRPr/>
                </a:pPr>
                <a:endParaRPr lang="en-US" sz="2268">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5" name="Freeform: Shape 14">
                <a:extLst>
                  <a:ext uri="{FF2B5EF4-FFF2-40B4-BE49-F238E27FC236}">
                    <a16:creationId xmlns:a16="http://schemas.microsoft.com/office/drawing/2014/main" id="{D37331EF-E3B7-4843-8B19-013ECA3F6CBF}"/>
                  </a:ext>
                </a:extLst>
              </p:cNvPr>
              <p:cNvSpPr/>
              <p:nvPr/>
            </p:nvSpPr>
            <p:spPr bwMode="auto">
              <a:xfrm>
                <a:off x="5010414" y="1156660"/>
                <a:ext cx="17428" cy="92477"/>
              </a:xfrm>
              <a:custGeom>
                <a:avLst/>
                <a:gdLst>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7456 w 32296"/>
                  <a:gd name="connsiteY9" fmla="*/ 12404 h 95455"/>
                  <a:gd name="connsiteX10" fmla="*/ 15204 w 32296"/>
                  <a:gd name="connsiteY10" fmla="*/ 8693 h 95455"/>
                  <a:gd name="connsiteX11" fmla="*/ 22399 w 32296"/>
                  <a:gd name="connsiteY11" fmla="*/ 4396 h 95455"/>
                  <a:gd name="connsiteX12" fmla="*/ 28259 w 32296"/>
                  <a:gd name="connsiteY12"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15204 w 32296"/>
                  <a:gd name="connsiteY9" fmla="*/ 8693 h 95455"/>
                  <a:gd name="connsiteX10" fmla="*/ 22399 w 32296"/>
                  <a:gd name="connsiteY10" fmla="*/ 4396 h 95455"/>
                  <a:gd name="connsiteX11" fmla="*/ 28259 w 32296"/>
                  <a:gd name="connsiteY11"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2399 w 32296"/>
                  <a:gd name="connsiteY9" fmla="*/ 4396 h 95455"/>
                  <a:gd name="connsiteX10" fmla="*/ 28259 w 32296"/>
                  <a:gd name="connsiteY10" fmla="*/ 0 h 95455"/>
                  <a:gd name="connsiteX0" fmla="*/ 28259 w 32296"/>
                  <a:gd name="connsiteY0" fmla="*/ 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9" fmla="*/ 28259 w 32296"/>
                  <a:gd name="connsiteY9" fmla="*/ 0 h 95455"/>
                  <a:gd name="connsiteX0" fmla="*/ 0 w 32296"/>
                  <a:gd name="connsiteY0" fmla="*/ 25850 h 95455"/>
                  <a:gd name="connsiteX1" fmla="*/ 32296 w 32296"/>
                  <a:gd name="connsiteY1" fmla="*/ 0 h 95455"/>
                  <a:gd name="connsiteX2" fmla="*/ 32296 w 32296"/>
                  <a:gd name="connsiteY2" fmla="*/ 95455 h 95455"/>
                  <a:gd name="connsiteX3" fmla="*/ 21618 w 32296"/>
                  <a:gd name="connsiteY3" fmla="*/ 95455 h 95455"/>
                  <a:gd name="connsiteX4" fmla="*/ 21618 w 32296"/>
                  <a:gd name="connsiteY4" fmla="*/ 14781 h 95455"/>
                  <a:gd name="connsiteX5" fmla="*/ 18004 w 32296"/>
                  <a:gd name="connsiteY5" fmla="*/ 17613 h 95455"/>
                  <a:gd name="connsiteX6" fmla="*/ 12665 w 32296"/>
                  <a:gd name="connsiteY6" fmla="*/ 20771 h 95455"/>
                  <a:gd name="connsiteX7" fmla="*/ 6414 w 32296"/>
                  <a:gd name="connsiteY7" fmla="*/ 23701 h 95455"/>
                  <a:gd name="connsiteX8" fmla="*/ 0 w 32296"/>
                  <a:gd name="connsiteY8" fmla="*/ 25850 h 95455"/>
                  <a:gd name="connsiteX0" fmla="*/ 32296 w 37457"/>
                  <a:gd name="connsiteY0" fmla="*/ 0 h 95455"/>
                  <a:gd name="connsiteX1" fmla="*/ 32296 w 37457"/>
                  <a:gd name="connsiteY1" fmla="*/ 95455 h 95455"/>
                  <a:gd name="connsiteX2" fmla="*/ 21618 w 37457"/>
                  <a:gd name="connsiteY2" fmla="*/ 95455 h 95455"/>
                  <a:gd name="connsiteX3" fmla="*/ 21618 w 37457"/>
                  <a:gd name="connsiteY3" fmla="*/ 14781 h 95455"/>
                  <a:gd name="connsiteX4" fmla="*/ 18004 w 37457"/>
                  <a:gd name="connsiteY4" fmla="*/ 17613 h 95455"/>
                  <a:gd name="connsiteX5" fmla="*/ 12665 w 37457"/>
                  <a:gd name="connsiteY5" fmla="*/ 20771 h 95455"/>
                  <a:gd name="connsiteX6" fmla="*/ 6414 w 37457"/>
                  <a:gd name="connsiteY6" fmla="*/ 23701 h 95455"/>
                  <a:gd name="connsiteX7" fmla="*/ 0 w 37457"/>
                  <a:gd name="connsiteY7" fmla="*/ 25850 h 95455"/>
                  <a:gd name="connsiteX8" fmla="*/ 37457 w 37457"/>
                  <a:gd name="connsiteY8" fmla="*/ 5161 h 95455"/>
                  <a:gd name="connsiteX0" fmla="*/ 32296 w 37457"/>
                  <a:gd name="connsiteY0" fmla="*/ 90294 h 90294"/>
                  <a:gd name="connsiteX1" fmla="*/ 21618 w 37457"/>
                  <a:gd name="connsiteY1" fmla="*/ 90294 h 90294"/>
                  <a:gd name="connsiteX2" fmla="*/ 21618 w 37457"/>
                  <a:gd name="connsiteY2" fmla="*/ 9620 h 90294"/>
                  <a:gd name="connsiteX3" fmla="*/ 18004 w 37457"/>
                  <a:gd name="connsiteY3" fmla="*/ 12452 h 90294"/>
                  <a:gd name="connsiteX4" fmla="*/ 12665 w 37457"/>
                  <a:gd name="connsiteY4" fmla="*/ 15610 h 90294"/>
                  <a:gd name="connsiteX5" fmla="*/ 6414 w 37457"/>
                  <a:gd name="connsiteY5" fmla="*/ 18540 h 90294"/>
                  <a:gd name="connsiteX6" fmla="*/ 0 w 37457"/>
                  <a:gd name="connsiteY6" fmla="*/ 20689 h 90294"/>
                  <a:gd name="connsiteX7" fmla="*/ 37457 w 37457"/>
                  <a:gd name="connsiteY7" fmla="*/ 0 h 90294"/>
                  <a:gd name="connsiteX0" fmla="*/ 32296 w 32296"/>
                  <a:gd name="connsiteY0" fmla="*/ 80674 h 80674"/>
                  <a:gd name="connsiteX1" fmla="*/ 21618 w 32296"/>
                  <a:gd name="connsiteY1" fmla="*/ 80674 h 80674"/>
                  <a:gd name="connsiteX2" fmla="*/ 21618 w 32296"/>
                  <a:gd name="connsiteY2" fmla="*/ 0 h 80674"/>
                  <a:gd name="connsiteX3" fmla="*/ 18004 w 32296"/>
                  <a:gd name="connsiteY3" fmla="*/ 2832 h 80674"/>
                  <a:gd name="connsiteX4" fmla="*/ 12665 w 32296"/>
                  <a:gd name="connsiteY4" fmla="*/ 5990 h 80674"/>
                  <a:gd name="connsiteX5" fmla="*/ 6414 w 32296"/>
                  <a:gd name="connsiteY5" fmla="*/ 8920 h 80674"/>
                  <a:gd name="connsiteX6" fmla="*/ 0 w 32296"/>
                  <a:gd name="connsiteY6" fmla="*/ 11069 h 80674"/>
                  <a:gd name="connsiteX0" fmla="*/ 21618 w 21618"/>
                  <a:gd name="connsiteY0" fmla="*/ 80674 h 80674"/>
                  <a:gd name="connsiteX1" fmla="*/ 21618 w 21618"/>
                  <a:gd name="connsiteY1" fmla="*/ 0 h 80674"/>
                  <a:gd name="connsiteX2" fmla="*/ 18004 w 21618"/>
                  <a:gd name="connsiteY2" fmla="*/ 2832 h 80674"/>
                  <a:gd name="connsiteX3" fmla="*/ 12665 w 21618"/>
                  <a:gd name="connsiteY3" fmla="*/ 5990 h 80674"/>
                  <a:gd name="connsiteX4" fmla="*/ 6414 w 21618"/>
                  <a:gd name="connsiteY4" fmla="*/ 8920 h 80674"/>
                  <a:gd name="connsiteX5" fmla="*/ 0 w 21618"/>
                  <a:gd name="connsiteY5" fmla="*/ 11069 h 80674"/>
                  <a:gd name="connsiteX0" fmla="*/ 15204 w 15204"/>
                  <a:gd name="connsiteY0" fmla="*/ 80674 h 80674"/>
                  <a:gd name="connsiteX1" fmla="*/ 15204 w 15204"/>
                  <a:gd name="connsiteY1" fmla="*/ 0 h 80674"/>
                  <a:gd name="connsiteX2" fmla="*/ 11590 w 15204"/>
                  <a:gd name="connsiteY2" fmla="*/ 2832 h 80674"/>
                  <a:gd name="connsiteX3" fmla="*/ 6251 w 15204"/>
                  <a:gd name="connsiteY3" fmla="*/ 5990 h 80674"/>
                  <a:gd name="connsiteX4" fmla="*/ 0 w 15204"/>
                  <a:gd name="connsiteY4" fmla="*/ 8920 h 80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4" h="80674">
                    <a:moveTo>
                      <a:pt x="15204" y="80674"/>
                    </a:moveTo>
                    <a:lnTo>
                      <a:pt x="15204" y="0"/>
                    </a:lnTo>
                    <a:cubicBezTo>
                      <a:pt x="14379" y="825"/>
                      <a:pt x="13174" y="1769"/>
                      <a:pt x="11590" y="2832"/>
                    </a:cubicBezTo>
                    <a:cubicBezTo>
                      <a:pt x="10006" y="3896"/>
                      <a:pt x="8226" y="4948"/>
                      <a:pt x="6251" y="5990"/>
                    </a:cubicBezTo>
                    <a:cubicBezTo>
                      <a:pt x="4276" y="7032"/>
                      <a:pt x="2192" y="8009"/>
                      <a:pt x="0" y="8920"/>
                    </a:cubicBezTo>
                  </a:path>
                </a:pathLst>
              </a:custGeom>
              <a:noFill/>
              <a:ln w="19050">
                <a:solidFill>
                  <a:schemeClr val="tx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2805" tIns="138244" rIns="172805" bIns="138244" numCol="1" spcCol="0" rtlCol="0" fromWordArt="0" anchor="t" anchorCtr="0" forceAA="0" compatLnSpc="1">
                <a:prstTxWarp prst="textNoShape">
                  <a:avLst/>
                </a:prstTxWarp>
                <a:noAutofit/>
              </a:bodyPr>
              <a:lstStyle/>
              <a:p>
                <a:pPr algn="ctr" defTabSz="881093" fontAlgn="base">
                  <a:lnSpc>
                    <a:spcPct val="90000"/>
                  </a:lnSpc>
                  <a:spcBef>
                    <a:spcPct val="0"/>
                  </a:spcBef>
                  <a:spcAft>
                    <a:spcPct val="0"/>
                  </a:spcAft>
                  <a:defRPr/>
                </a:pPr>
                <a:endParaRPr lang="en-US" sz="2268">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11" name="Right Triangle 10">
              <a:extLst>
                <a:ext uri="{FF2B5EF4-FFF2-40B4-BE49-F238E27FC236}">
                  <a16:creationId xmlns:a16="http://schemas.microsoft.com/office/drawing/2014/main" id="{6101694D-20A5-4B73-B3CE-4CF8FFBAAE52}"/>
                </a:ext>
              </a:extLst>
            </p:cNvPr>
            <p:cNvSpPr/>
            <p:nvPr/>
          </p:nvSpPr>
          <p:spPr bwMode="auto">
            <a:xfrm>
              <a:off x="5326465" y="2189578"/>
              <a:ext cx="668199" cy="662471"/>
            </a:xfrm>
            <a:prstGeom prst="rtTriangl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2805" tIns="138244" rIns="172805" bIns="138244" numCol="1" spcCol="0" rtlCol="0" fromWordArt="0" anchor="t" anchorCtr="0" forceAA="0" compatLnSpc="1">
              <a:prstTxWarp prst="textNoShape">
                <a:avLst/>
              </a:prstTxWarp>
              <a:noAutofit/>
            </a:bodyPr>
            <a:lstStyle/>
            <a:p>
              <a:pPr algn="ctr" defTabSz="881093" fontAlgn="base">
                <a:lnSpc>
                  <a:spcPct val="90000"/>
                </a:lnSpc>
                <a:spcBef>
                  <a:spcPct val="0"/>
                </a:spcBef>
                <a:spcAft>
                  <a:spcPct val="0"/>
                </a:spcAft>
                <a:defRPr/>
              </a:pPr>
              <a:endParaRPr lang="en-US" sz="992">
                <a:gradFill>
                  <a:gsLst>
                    <a:gs pos="0">
                      <a:srgbClr val="FFFFFF"/>
                    </a:gs>
                    <a:gs pos="100000">
                      <a:srgbClr val="FFFFFF"/>
                    </a:gs>
                  </a:gsLst>
                  <a:lin ang="5400000" scaled="0"/>
                </a:gradFill>
                <a:latin typeface="Segoe UI Semilight"/>
                <a:cs typeface="Segoe UI" pitchFamily="34" charset="0"/>
              </a:endParaRPr>
            </a:p>
          </p:txBody>
        </p:sp>
      </p:grpSp>
      <p:sp>
        <p:nvSpPr>
          <p:cNvPr id="16" name="Rectangle 15">
            <a:extLst>
              <a:ext uri="{FF2B5EF4-FFF2-40B4-BE49-F238E27FC236}">
                <a16:creationId xmlns:a16="http://schemas.microsoft.com/office/drawing/2014/main" id="{66D03183-7673-4727-84CD-C1F4F1CBF955}"/>
              </a:ext>
            </a:extLst>
          </p:cNvPr>
          <p:cNvSpPr/>
          <p:nvPr/>
        </p:nvSpPr>
        <p:spPr>
          <a:xfrm>
            <a:off x="4567570" y="5238062"/>
            <a:ext cx="844308" cy="237757"/>
          </a:xfrm>
          <a:prstGeom prst="rect">
            <a:avLst/>
          </a:prstGeom>
        </p:spPr>
        <p:txBody>
          <a:bodyPr wrap="square">
            <a:spAutoFit/>
          </a:bodyPr>
          <a:lstStyle/>
          <a:p>
            <a:pPr defTabSz="864017">
              <a:spcAft>
                <a:spcPts val="283"/>
              </a:spcAft>
              <a:buSzPct val="90000"/>
              <a:defRPr/>
            </a:pPr>
            <a:r>
              <a:rPr lang="en-US" sz="945" kern="0" dirty="0">
                <a:solidFill>
                  <a:schemeClr val="tx2"/>
                </a:solidFill>
                <a:latin typeface="Segoe UI Semibold" panose="020B0702040204020203" pitchFamily="34" charset="0"/>
                <a:ea typeface="MS PGothic" panose="020B0600070205080204" pitchFamily="34" charset="-128"/>
                <a:cs typeface="Segoe UI Semibold" panose="020B0702040204020203" pitchFamily="34" charset="0"/>
              </a:rPr>
              <a:t>COPY INTO</a:t>
            </a:r>
          </a:p>
        </p:txBody>
      </p:sp>
      <p:sp>
        <p:nvSpPr>
          <p:cNvPr id="18" name="Rectangle 17">
            <a:extLst>
              <a:ext uri="{FF2B5EF4-FFF2-40B4-BE49-F238E27FC236}">
                <a16:creationId xmlns:a16="http://schemas.microsoft.com/office/drawing/2014/main" id="{F4137C7E-F1F8-43C8-86BD-57C392A5DC35}"/>
              </a:ext>
            </a:extLst>
          </p:cNvPr>
          <p:cNvSpPr/>
          <p:nvPr/>
        </p:nvSpPr>
        <p:spPr>
          <a:xfrm>
            <a:off x="6195453" y="5726986"/>
            <a:ext cx="1227706" cy="383182"/>
          </a:xfrm>
          <a:prstGeom prst="rect">
            <a:avLst/>
          </a:prstGeom>
        </p:spPr>
        <p:txBody>
          <a:bodyPr wrap="square">
            <a:spAutoFit/>
          </a:bodyPr>
          <a:lstStyle/>
          <a:p>
            <a:pPr defTabSz="864017">
              <a:spcAft>
                <a:spcPts val="283"/>
              </a:spcAft>
              <a:buSzPct val="90000"/>
              <a:defRPr/>
            </a:pPr>
            <a:r>
              <a:rPr lang="en-US" sz="945" kern="0" dirty="0">
                <a:solidFill>
                  <a:schemeClr val="tx2"/>
                </a:solidFill>
                <a:latin typeface="Segoe UI Semibold" panose="020B0702040204020203" pitchFamily="34" charset="0"/>
                <a:ea typeface="MS PGothic" panose="020B0600070205080204" pitchFamily="34" charset="-128"/>
                <a:cs typeface="Segoe UI Semibold" panose="020B0702040204020203" pitchFamily="34" charset="0"/>
              </a:rPr>
              <a:t>Azure Synapse Analytics SQL Pool</a:t>
            </a:r>
          </a:p>
        </p:txBody>
      </p:sp>
      <p:pic>
        <p:nvPicPr>
          <p:cNvPr id="20" name="Picture 19">
            <a:extLst>
              <a:ext uri="{FF2B5EF4-FFF2-40B4-BE49-F238E27FC236}">
                <a16:creationId xmlns:a16="http://schemas.microsoft.com/office/drawing/2014/main" id="{DA09F56D-59E9-4EBE-B092-8A7C5E749FB6}"/>
              </a:ext>
            </a:extLst>
          </p:cNvPr>
          <p:cNvPicPr>
            <a:picLocks noChangeAspect="1"/>
          </p:cNvPicPr>
          <p:nvPr/>
        </p:nvPicPr>
        <p:blipFill>
          <a:blip r:embed="rId3">
            <a:grayscl/>
          </a:blip>
          <a:stretch>
            <a:fillRect/>
          </a:stretch>
        </p:blipFill>
        <p:spPr>
          <a:xfrm>
            <a:off x="6256452" y="5186516"/>
            <a:ext cx="498777" cy="570601"/>
          </a:xfrm>
          <a:prstGeom prst="rect">
            <a:avLst/>
          </a:prstGeom>
        </p:spPr>
      </p:pic>
      <p:cxnSp>
        <p:nvCxnSpPr>
          <p:cNvPr id="23" name="Straight Arrow Connector 22">
            <a:extLst>
              <a:ext uri="{FF2B5EF4-FFF2-40B4-BE49-F238E27FC236}">
                <a16:creationId xmlns:a16="http://schemas.microsoft.com/office/drawing/2014/main" id="{51100420-DFDE-4CF1-9498-CD9696A18F61}"/>
              </a:ext>
            </a:extLst>
          </p:cNvPr>
          <p:cNvCxnSpPr>
            <a:cxnSpLocks/>
          </p:cNvCxnSpPr>
          <p:nvPr/>
        </p:nvCxnSpPr>
        <p:spPr>
          <a:xfrm>
            <a:off x="3240543" y="5559013"/>
            <a:ext cx="2954910" cy="0"/>
          </a:xfrm>
          <a:prstGeom prst="straightConnector1">
            <a:avLst/>
          </a:prstGeom>
          <a:ln w="19050">
            <a:solidFill>
              <a:schemeClr val="tx2"/>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90553988"/>
      </p:ext>
    </p:extLst>
  </p:cSld>
  <p:clrMapOvr>
    <a:masterClrMapping/>
  </p:clrMapOvr>
  <p:transition spd="med">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54B388-2259-4F1F-B142-739CBE157B9D}"/>
              </a:ext>
            </a:extLst>
          </p:cNvPr>
          <p:cNvSpPr>
            <a:spLocks noGrp="1"/>
          </p:cNvSpPr>
          <p:nvPr>
            <p:ph type="title"/>
          </p:nvPr>
        </p:nvSpPr>
        <p:spPr/>
        <p:txBody>
          <a:bodyPr>
            <a:normAutofit/>
          </a:bodyPr>
          <a:lstStyle/>
          <a:p>
            <a:r>
              <a:rPr lang="en-US" b="1" dirty="0"/>
              <a:t>Writing Data Into Azure Storage with DataStage</a:t>
            </a:r>
          </a:p>
        </p:txBody>
      </p:sp>
      <p:sp>
        <p:nvSpPr>
          <p:cNvPr id="5" name="TextBox 4">
            <a:extLst>
              <a:ext uri="{FF2B5EF4-FFF2-40B4-BE49-F238E27FC236}">
                <a16:creationId xmlns:a16="http://schemas.microsoft.com/office/drawing/2014/main" id="{0E4723E8-1D68-4685-AFD9-A0477FF79717}"/>
              </a:ext>
            </a:extLst>
          </p:cNvPr>
          <p:cNvSpPr txBox="1"/>
          <p:nvPr/>
        </p:nvSpPr>
        <p:spPr>
          <a:xfrm>
            <a:off x="386442" y="1306286"/>
            <a:ext cx="10804071" cy="3970318"/>
          </a:xfrm>
          <a:prstGeom prst="rect">
            <a:avLst/>
          </a:prstGeom>
          <a:noFill/>
        </p:spPr>
        <p:txBody>
          <a:bodyPr wrap="square" rtlCol="0">
            <a:spAutoFit/>
          </a:bodyPr>
          <a:lstStyle/>
          <a:p>
            <a:pPr marL="457200" indent="-457200">
              <a:buFont typeface="Arial" panose="020B0604020202020204" pitchFamily="34" charset="0"/>
              <a:buChar char="•"/>
            </a:pPr>
            <a:r>
              <a:rPr lang="en-US" sz="2800" dirty="0"/>
              <a:t>Large Data Set ingestion can take advantage of COPY INTO process from Azure Synapse Analytics from data landed in Blob Storage</a:t>
            </a:r>
          </a:p>
          <a:p>
            <a:pPr marL="457200" indent="-457200">
              <a:buFont typeface="Arial" panose="020B0604020202020204" pitchFamily="34" charset="0"/>
              <a:buChar char="•"/>
            </a:pPr>
            <a:r>
              <a:rPr lang="en-US" sz="2800" dirty="0"/>
              <a:t>Requirements: IBM Infosphere Information Server </a:t>
            </a:r>
            <a:r>
              <a:rPr lang="en-US" sz="2800" dirty="0" err="1"/>
              <a:t>Datastage</a:t>
            </a:r>
            <a:r>
              <a:rPr lang="en-US" sz="2800" dirty="0"/>
              <a:t> 11.7fp1 and above</a:t>
            </a:r>
          </a:p>
          <a:p>
            <a:pPr marL="457200" indent="-457200">
              <a:buFont typeface="Arial" panose="020B0604020202020204" pitchFamily="34" charset="0"/>
              <a:buChar char="•"/>
            </a:pPr>
            <a:r>
              <a:rPr lang="en-US" sz="2800" dirty="0"/>
              <a:t>High Level Steps:</a:t>
            </a:r>
          </a:p>
          <a:p>
            <a:pPr marL="971550" lvl="1" indent="-514350">
              <a:buFont typeface="+mj-lt"/>
              <a:buAutoNum type="arabicPeriod"/>
            </a:pPr>
            <a:r>
              <a:rPr lang="en-US" sz="2800" dirty="0"/>
              <a:t>Configure Azure Storage Connector Connection Properties</a:t>
            </a:r>
          </a:p>
          <a:p>
            <a:pPr marL="971550" lvl="1" indent="-514350">
              <a:buFont typeface="+mj-lt"/>
              <a:buAutoNum type="arabicPeriod"/>
            </a:pPr>
            <a:r>
              <a:rPr lang="en-US" sz="2800" dirty="0"/>
              <a:t>Configure Azure Storage Connector to write to Azure Blob Storage</a:t>
            </a:r>
          </a:p>
          <a:p>
            <a:pPr marL="971550" lvl="1" indent="-514350">
              <a:buFont typeface="+mj-lt"/>
              <a:buAutoNum type="arabicPeriod"/>
            </a:pPr>
            <a:r>
              <a:rPr lang="en-US" sz="2800" dirty="0"/>
              <a:t>Additional Configuration for Parallel Write</a:t>
            </a:r>
          </a:p>
          <a:p>
            <a:pPr marL="457200" indent="-457200">
              <a:buFont typeface="Arial" panose="020B0604020202020204" pitchFamily="34" charset="0"/>
              <a:buChar char="•"/>
            </a:pPr>
            <a:r>
              <a:rPr lang="en-US" sz="2800" dirty="0">
                <a:hlinkClick r:id="rId3"/>
              </a:rPr>
              <a:t>Documentation Link</a:t>
            </a:r>
            <a:endParaRPr lang="en-US" sz="2800" dirty="0"/>
          </a:p>
        </p:txBody>
      </p:sp>
      <p:pic>
        <p:nvPicPr>
          <p:cNvPr id="7170" name="Picture 2" descr="Picture1">
            <a:extLst>
              <a:ext uri="{FF2B5EF4-FFF2-40B4-BE49-F238E27FC236}">
                <a16:creationId xmlns:a16="http://schemas.microsoft.com/office/drawing/2014/main" id="{C26FB6C6-4144-4344-B88E-0E2AE9D1AFC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40840" y="5276604"/>
            <a:ext cx="4933667" cy="15024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16554846"/>
      </p:ext>
    </p:extLst>
  </p:cSld>
  <p:clrMapOvr>
    <a:masterClrMapping/>
  </p:clrMapOvr>
  <p:transition spd="med">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54B388-2259-4F1F-B142-739CBE157B9D}"/>
              </a:ext>
            </a:extLst>
          </p:cNvPr>
          <p:cNvSpPr>
            <a:spLocks noGrp="1"/>
          </p:cNvSpPr>
          <p:nvPr>
            <p:ph type="title"/>
          </p:nvPr>
        </p:nvSpPr>
        <p:spPr/>
        <p:txBody>
          <a:bodyPr>
            <a:normAutofit/>
          </a:bodyPr>
          <a:lstStyle/>
          <a:p>
            <a:r>
              <a:rPr lang="en-US" b="1" dirty="0"/>
              <a:t>Bulk Loading into Azure Synapse with DataStage</a:t>
            </a:r>
          </a:p>
        </p:txBody>
      </p:sp>
      <p:sp>
        <p:nvSpPr>
          <p:cNvPr id="5" name="TextBox 4">
            <a:extLst>
              <a:ext uri="{FF2B5EF4-FFF2-40B4-BE49-F238E27FC236}">
                <a16:creationId xmlns:a16="http://schemas.microsoft.com/office/drawing/2014/main" id="{0E4723E8-1D68-4685-AFD9-A0477FF79717}"/>
              </a:ext>
            </a:extLst>
          </p:cNvPr>
          <p:cNvSpPr txBox="1"/>
          <p:nvPr/>
        </p:nvSpPr>
        <p:spPr>
          <a:xfrm>
            <a:off x="386442" y="1306286"/>
            <a:ext cx="10804071" cy="4401205"/>
          </a:xfrm>
          <a:prstGeom prst="rect">
            <a:avLst/>
          </a:prstGeom>
          <a:noFill/>
        </p:spPr>
        <p:txBody>
          <a:bodyPr wrap="square" rtlCol="0">
            <a:spAutoFit/>
          </a:bodyPr>
          <a:lstStyle/>
          <a:p>
            <a:pPr marL="457200" indent="-457200">
              <a:buFont typeface="Arial" panose="020B0604020202020204" pitchFamily="34" charset="0"/>
              <a:buChar char="•"/>
            </a:pPr>
            <a:r>
              <a:rPr lang="en-US" sz="2800" dirty="0"/>
              <a:t>COPY INTO statement can be executed:</a:t>
            </a:r>
          </a:p>
          <a:p>
            <a:pPr marL="914400" lvl="1" indent="-457200">
              <a:buFont typeface="Arial" panose="020B0604020202020204" pitchFamily="34" charset="0"/>
              <a:buChar char="•"/>
            </a:pPr>
            <a:r>
              <a:rPr lang="en-US" sz="2800" dirty="0"/>
              <a:t>Within a Stored Procedure</a:t>
            </a:r>
          </a:p>
          <a:p>
            <a:pPr marL="914400" lvl="1" indent="-457200">
              <a:buFont typeface="Arial" panose="020B0604020202020204" pitchFamily="34" charset="0"/>
              <a:buChar char="•"/>
            </a:pPr>
            <a:r>
              <a:rPr lang="en-US" sz="2800" dirty="0"/>
              <a:t>Or as an ad-hoc T-SQL</a:t>
            </a:r>
          </a:p>
          <a:p>
            <a:pPr marL="457200" indent="-457200">
              <a:buFont typeface="Arial" panose="020B0604020202020204" pitchFamily="34" charset="0"/>
              <a:buChar char="•"/>
            </a:pPr>
            <a:r>
              <a:rPr lang="en-US" sz="2800" dirty="0"/>
              <a:t>COPY INTO will take the data from Blob Storage/ADLS and ingest into Azure Synapse Analytics in parallel</a:t>
            </a:r>
          </a:p>
          <a:p>
            <a:pPr marL="457200" indent="-457200">
              <a:buFont typeface="Arial" panose="020B0604020202020204" pitchFamily="34" charset="0"/>
              <a:buChar char="•"/>
            </a:pPr>
            <a:r>
              <a:rPr lang="en-US" sz="2800" dirty="0"/>
              <a:t>Data should be landed on an uncompressed </a:t>
            </a:r>
            <a:r>
              <a:rPr lang="en-US" sz="2800" dirty="0" err="1"/>
              <a:t>rowstore</a:t>
            </a:r>
            <a:r>
              <a:rPr lang="en-US" sz="2800" dirty="0"/>
              <a:t> table for performance reasons</a:t>
            </a:r>
          </a:p>
          <a:p>
            <a:pPr marL="457200" indent="-457200">
              <a:buFont typeface="Arial" panose="020B0604020202020204" pitchFamily="34" charset="0"/>
              <a:buChar char="•"/>
            </a:pPr>
            <a:r>
              <a:rPr lang="en-US" sz="2800" dirty="0"/>
              <a:t>T-SQL should execute a last step of ingesting or CTAS into a final table.</a:t>
            </a:r>
          </a:p>
          <a:p>
            <a:pPr marL="457200" indent="-457200">
              <a:buFont typeface="Arial" panose="020B0604020202020204" pitchFamily="34" charset="0"/>
              <a:buChar char="•"/>
            </a:pPr>
            <a:r>
              <a:rPr lang="en-US" sz="2800" dirty="0"/>
              <a:t>Recompute of statistics is always recommended when data has changed significantly</a:t>
            </a:r>
          </a:p>
        </p:txBody>
      </p:sp>
    </p:spTree>
    <p:extLst>
      <p:ext uri="{BB962C8B-B14F-4D97-AF65-F5344CB8AC3E}">
        <p14:creationId xmlns:p14="http://schemas.microsoft.com/office/powerpoint/2010/main" val="1609301924"/>
      </p:ext>
    </p:extLst>
  </p:cSld>
  <p:clrMapOvr>
    <a:masterClrMapping/>
  </p:clrMapOvr>
  <p:transition spd="med">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descr="Stored Procedure to Build Key and Insert">
            <a:extLst>
              <a:ext uri="{FF2B5EF4-FFF2-40B4-BE49-F238E27FC236}">
                <a16:creationId xmlns:a16="http://schemas.microsoft.com/office/drawing/2014/main" id="{82F902FB-BEC3-4ADA-87B8-F04BC2535E6E}"/>
              </a:ext>
            </a:extLst>
          </p:cNvPr>
          <p:cNvSpPr>
            <a:spLocks noGrp="1"/>
          </p:cNvSpPr>
          <p:nvPr>
            <p:ph type="title"/>
          </p:nvPr>
        </p:nvSpPr>
        <p:spPr/>
        <p:txBody>
          <a:bodyPr/>
          <a:lstStyle/>
          <a:p>
            <a:r>
              <a:rPr lang="en-US" b="1" dirty="0"/>
              <a:t>Bulk Loading with COPY INTO statement</a:t>
            </a:r>
          </a:p>
        </p:txBody>
      </p:sp>
      <p:sp>
        <p:nvSpPr>
          <p:cNvPr id="3" name="TextBox 2">
            <a:extLst>
              <a:ext uri="{FF2B5EF4-FFF2-40B4-BE49-F238E27FC236}">
                <a16:creationId xmlns:a16="http://schemas.microsoft.com/office/drawing/2014/main" id="{51E099A3-C6A6-41A4-B239-30FD2F84F0CF}"/>
              </a:ext>
            </a:extLst>
          </p:cNvPr>
          <p:cNvSpPr txBox="1"/>
          <p:nvPr/>
        </p:nvSpPr>
        <p:spPr>
          <a:xfrm>
            <a:off x="686406" y="1073126"/>
            <a:ext cx="10818564" cy="5755422"/>
          </a:xfrm>
          <a:prstGeom prst="rect">
            <a:avLst/>
          </a:prstGeom>
          <a:noFill/>
        </p:spPr>
        <p:txBody>
          <a:bodyPr wrap="square" rtlCol="0">
            <a:spAutoFit/>
          </a:bodyPr>
          <a:lstStyle/>
          <a:p>
            <a:r>
              <a:rPr lang="en-US" sz="800" dirty="0"/>
              <a:t>CREATE SCHEMA stage;</a:t>
            </a:r>
          </a:p>
          <a:p>
            <a:r>
              <a:rPr lang="en-US" sz="800" dirty="0"/>
              <a:t>-- Create the Staging Table</a:t>
            </a:r>
          </a:p>
          <a:p>
            <a:r>
              <a:rPr lang="en-US" sz="800" dirty="0"/>
              <a:t>-- Drop Table [stage].[</a:t>
            </a:r>
            <a:r>
              <a:rPr lang="en-US" sz="800" dirty="0" err="1"/>
              <a:t>SalesData</a:t>
            </a:r>
            <a:r>
              <a:rPr lang="en-US" sz="800" dirty="0"/>
              <a:t>]</a:t>
            </a:r>
          </a:p>
          <a:p>
            <a:r>
              <a:rPr lang="en-US" sz="800" dirty="0"/>
              <a:t>Create table [stage].[</a:t>
            </a:r>
            <a:r>
              <a:rPr lang="en-US" sz="800" dirty="0" err="1"/>
              <a:t>SalesData</a:t>
            </a:r>
            <a:r>
              <a:rPr lang="en-US" sz="800" dirty="0"/>
              <a:t>](</a:t>
            </a:r>
          </a:p>
          <a:p>
            <a:r>
              <a:rPr lang="en-US" sz="800" dirty="0"/>
              <a:t>	Region varchar(50)</a:t>
            </a:r>
          </a:p>
          <a:p>
            <a:r>
              <a:rPr lang="en-US" sz="800" dirty="0"/>
              <a:t>	,Product varchar(50)</a:t>
            </a:r>
          </a:p>
          <a:p>
            <a:r>
              <a:rPr lang="en-US" sz="800" dirty="0"/>
              <a:t>	,</a:t>
            </a:r>
            <a:r>
              <a:rPr lang="en-US" sz="800" dirty="0" err="1"/>
              <a:t>SaleDate</a:t>
            </a:r>
            <a:r>
              <a:rPr lang="en-US" sz="800" dirty="0"/>
              <a:t> date</a:t>
            </a:r>
          </a:p>
          <a:p>
            <a:r>
              <a:rPr lang="en-US" sz="800" dirty="0"/>
              <a:t>	,Amount DECIMAL (20,10)</a:t>
            </a:r>
          </a:p>
          <a:p>
            <a:r>
              <a:rPr lang="en-US" sz="800" dirty="0"/>
              <a:t>	)</a:t>
            </a:r>
          </a:p>
          <a:p>
            <a:r>
              <a:rPr lang="en-US" sz="800" dirty="0"/>
              <a:t>with (distribution = </a:t>
            </a:r>
            <a:r>
              <a:rPr lang="en-US" sz="800" dirty="0" err="1"/>
              <a:t>round_robin</a:t>
            </a:r>
            <a:r>
              <a:rPr lang="en-US" sz="800" dirty="0"/>
              <a:t>, HEAP);</a:t>
            </a:r>
          </a:p>
          <a:p>
            <a:endParaRPr lang="en-US" sz="800" dirty="0"/>
          </a:p>
          <a:p>
            <a:endParaRPr lang="en-US" sz="800" dirty="0"/>
          </a:p>
          <a:p>
            <a:r>
              <a:rPr lang="en-US" sz="800" dirty="0"/>
              <a:t>/* Documentation</a:t>
            </a:r>
          </a:p>
          <a:p>
            <a:r>
              <a:rPr lang="en-US" sz="800" dirty="0">
                <a:hlinkClick r:id="rId3"/>
              </a:rPr>
              <a:t>https://docs.microsoft.com/en-us/sql/t-sql/statements/copy-into-transact-sql?view=azure-sqldw-latest</a:t>
            </a:r>
            <a:endParaRPr lang="en-US" sz="800" dirty="0"/>
          </a:p>
          <a:p>
            <a:r>
              <a:rPr lang="en-US" sz="800" dirty="0"/>
              <a:t>*/</a:t>
            </a:r>
          </a:p>
          <a:p>
            <a:endParaRPr lang="en-US" sz="800" dirty="0"/>
          </a:p>
          <a:p>
            <a:r>
              <a:rPr lang="en-US" sz="800" dirty="0"/>
              <a:t>COPY INTO [stage].[</a:t>
            </a:r>
            <a:r>
              <a:rPr lang="en-US" sz="800" dirty="0" err="1"/>
              <a:t>SalesData</a:t>
            </a:r>
            <a:r>
              <a:rPr lang="en-US" sz="800" dirty="0"/>
              <a:t>] (Region 1, Product 2, </a:t>
            </a:r>
            <a:r>
              <a:rPr lang="en-US" sz="800" dirty="0" err="1"/>
              <a:t>SaleDate</a:t>
            </a:r>
            <a:r>
              <a:rPr lang="en-US" sz="800" dirty="0"/>
              <a:t> 3, Amount 4)</a:t>
            </a:r>
          </a:p>
          <a:p>
            <a:r>
              <a:rPr lang="en-US" sz="800" dirty="0"/>
              <a:t>FROM 'https://acccount.blob.core.windows.net/</a:t>
            </a:r>
            <a:r>
              <a:rPr lang="en-US" sz="800" dirty="0" err="1"/>
              <a:t>yourcontainer</a:t>
            </a:r>
            <a:r>
              <a:rPr lang="en-US" sz="800" dirty="0"/>
              <a:t>'</a:t>
            </a:r>
          </a:p>
          <a:p>
            <a:r>
              <a:rPr lang="en-US" sz="800" dirty="0"/>
              <a:t>WITH (</a:t>
            </a:r>
          </a:p>
          <a:p>
            <a:r>
              <a:rPr lang="en-US" sz="800" dirty="0"/>
              <a:t>    FILE_TYPE = 'CSV',</a:t>
            </a:r>
          </a:p>
          <a:p>
            <a:r>
              <a:rPr lang="en-US" sz="800" dirty="0"/>
              <a:t>    CREDENTIAL=(IDENTITY= 'Shared Access Signature', SECRET='Your secret here’),</a:t>
            </a:r>
          </a:p>
          <a:p>
            <a:r>
              <a:rPr lang="en-US" sz="800" dirty="0"/>
              <a:t>	FIELDQUOTE = '“’,</a:t>
            </a:r>
          </a:p>
          <a:p>
            <a:r>
              <a:rPr lang="en-US" sz="800" dirty="0"/>
              <a:t>	FIELDTERMINATOR=',’,</a:t>
            </a:r>
          </a:p>
          <a:p>
            <a:r>
              <a:rPr lang="en-US" sz="800" dirty="0"/>
              <a:t>	ROWTERMINATOR = '\n',</a:t>
            </a:r>
          </a:p>
          <a:p>
            <a:r>
              <a:rPr lang="en-US" sz="800" dirty="0"/>
              <a:t>	</a:t>
            </a:r>
            <a:r>
              <a:rPr lang="en-US" sz="800" dirty="0" err="1"/>
              <a:t>Identity_INSERT</a:t>
            </a:r>
            <a:r>
              <a:rPr lang="en-US" sz="800" dirty="0"/>
              <a:t> = 'OFF',</a:t>
            </a:r>
          </a:p>
          <a:p>
            <a:r>
              <a:rPr lang="en-US" sz="800" dirty="0"/>
              <a:t>	ENCODING = 'UTF8',</a:t>
            </a:r>
          </a:p>
          <a:p>
            <a:r>
              <a:rPr lang="en-US" sz="800" dirty="0"/>
              <a:t>	DATEFORMAT = '</a:t>
            </a:r>
            <a:r>
              <a:rPr lang="en-US" sz="800" dirty="0" err="1"/>
              <a:t>ymd</a:t>
            </a:r>
            <a:r>
              <a:rPr lang="en-US" sz="800" dirty="0"/>
              <a:t>',</a:t>
            </a:r>
          </a:p>
          <a:p>
            <a:r>
              <a:rPr lang="en-US" sz="800" dirty="0"/>
              <a:t>	FIRSTROW = 2</a:t>
            </a:r>
          </a:p>
          <a:p>
            <a:r>
              <a:rPr lang="en-US" sz="800" dirty="0"/>
              <a:t>);</a:t>
            </a:r>
          </a:p>
          <a:p>
            <a:endParaRPr lang="en-US" sz="800" dirty="0"/>
          </a:p>
          <a:p>
            <a:r>
              <a:rPr lang="en-US" sz="800" dirty="0"/>
              <a:t>CREATE SCHEMA Sales;</a:t>
            </a:r>
          </a:p>
          <a:p>
            <a:r>
              <a:rPr lang="en-US" sz="800" dirty="0"/>
              <a:t>-- CTAS with HASH distribution on Date and Columnar format</a:t>
            </a:r>
          </a:p>
          <a:p>
            <a:r>
              <a:rPr lang="en-US" sz="800" dirty="0"/>
              <a:t>-- DROP TABLE </a:t>
            </a:r>
            <a:r>
              <a:rPr lang="en-US" sz="800" dirty="0" err="1"/>
              <a:t>Sales.Transactions</a:t>
            </a:r>
            <a:endParaRPr lang="en-US" sz="800" dirty="0"/>
          </a:p>
          <a:p>
            <a:r>
              <a:rPr lang="en-US" sz="800" dirty="0"/>
              <a:t>CREATE TABLE </a:t>
            </a:r>
            <a:r>
              <a:rPr lang="en-US" sz="800" dirty="0" err="1"/>
              <a:t>Sales.Transactions</a:t>
            </a:r>
            <a:endParaRPr lang="en-US" sz="800" dirty="0"/>
          </a:p>
          <a:p>
            <a:r>
              <a:rPr lang="en-US" sz="800" dirty="0"/>
              <a:t>WITH</a:t>
            </a:r>
          </a:p>
          <a:p>
            <a:r>
              <a:rPr lang="en-US" sz="800" dirty="0"/>
              <a:t>(</a:t>
            </a:r>
          </a:p>
          <a:p>
            <a:r>
              <a:rPr lang="en-US" sz="800" dirty="0"/>
              <a:t> DISTRIBUTION = HASH(</a:t>
            </a:r>
            <a:r>
              <a:rPr lang="en-US" sz="800" dirty="0" err="1"/>
              <a:t>SaleDate</a:t>
            </a:r>
            <a:r>
              <a:rPr lang="en-US" sz="800" dirty="0"/>
              <a:t>)</a:t>
            </a:r>
          </a:p>
          <a:p>
            <a:r>
              <a:rPr lang="en-US" sz="800" dirty="0"/>
              <a:t> ,CLUSTERED COLUMNSTORE INDEX</a:t>
            </a:r>
          </a:p>
          <a:p>
            <a:r>
              <a:rPr lang="en-US" sz="800" dirty="0"/>
              <a:t>)  AS SELECT  * FROM [stage].[</a:t>
            </a:r>
            <a:r>
              <a:rPr lang="en-US" sz="800" dirty="0" err="1"/>
              <a:t>SalesData</a:t>
            </a:r>
            <a:r>
              <a:rPr lang="en-US" sz="800" dirty="0"/>
              <a:t>];</a:t>
            </a:r>
          </a:p>
          <a:p>
            <a:endParaRPr lang="en-US" sz="800" dirty="0"/>
          </a:p>
          <a:p>
            <a:r>
              <a:rPr lang="en-US" sz="800" dirty="0"/>
              <a:t>Create Statistics </a:t>
            </a:r>
            <a:r>
              <a:rPr lang="en-US" sz="800" dirty="0" err="1"/>
              <a:t>stat_stage_salesdata_Region</a:t>
            </a:r>
            <a:r>
              <a:rPr lang="en-US" sz="800" dirty="0"/>
              <a:t> on </a:t>
            </a:r>
            <a:r>
              <a:rPr lang="en-US" sz="800" dirty="0" err="1"/>
              <a:t>Sales.Transactions</a:t>
            </a:r>
            <a:r>
              <a:rPr lang="en-US" sz="800" dirty="0"/>
              <a:t> (Region) with </a:t>
            </a:r>
            <a:r>
              <a:rPr lang="en-US" sz="800" dirty="0" err="1"/>
              <a:t>fullscan</a:t>
            </a:r>
            <a:r>
              <a:rPr lang="en-US" sz="800" dirty="0"/>
              <a:t>;</a:t>
            </a:r>
          </a:p>
          <a:p>
            <a:r>
              <a:rPr lang="en-US" sz="800" dirty="0"/>
              <a:t>Create Statistics </a:t>
            </a:r>
            <a:r>
              <a:rPr lang="en-US" sz="800" dirty="0" err="1"/>
              <a:t>stat_stage_salesdata_Product</a:t>
            </a:r>
            <a:r>
              <a:rPr lang="en-US" sz="800" dirty="0"/>
              <a:t> on </a:t>
            </a:r>
            <a:r>
              <a:rPr lang="en-US" sz="800" dirty="0" err="1"/>
              <a:t>Sales.Transactions</a:t>
            </a:r>
            <a:r>
              <a:rPr lang="en-US" sz="800" dirty="0"/>
              <a:t> (Product) with </a:t>
            </a:r>
            <a:r>
              <a:rPr lang="en-US" sz="800" dirty="0" err="1"/>
              <a:t>fullscan</a:t>
            </a:r>
            <a:r>
              <a:rPr lang="en-US" sz="800" dirty="0"/>
              <a:t>;</a:t>
            </a:r>
          </a:p>
          <a:p>
            <a:r>
              <a:rPr lang="en-US" sz="800" dirty="0"/>
              <a:t>Create Statistics </a:t>
            </a:r>
            <a:r>
              <a:rPr lang="en-US" sz="800" dirty="0" err="1"/>
              <a:t>stat_stage_salesdata_SaleDate</a:t>
            </a:r>
            <a:r>
              <a:rPr lang="en-US" sz="800" dirty="0"/>
              <a:t> on </a:t>
            </a:r>
            <a:r>
              <a:rPr lang="en-US" sz="800" dirty="0" err="1"/>
              <a:t>Sales.Transactions</a:t>
            </a:r>
            <a:r>
              <a:rPr lang="en-US" sz="800" dirty="0"/>
              <a:t> (</a:t>
            </a:r>
            <a:r>
              <a:rPr lang="en-US" sz="800" dirty="0" err="1"/>
              <a:t>SaleDate</a:t>
            </a:r>
            <a:r>
              <a:rPr lang="en-US" sz="800" dirty="0"/>
              <a:t>) with </a:t>
            </a:r>
            <a:r>
              <a:rPr lang="en-US" sz="800" dirty="0" err="1"/>
              <a:t>fullscan</a:t>
            </a:r>
            <a:r>
              <a:rPr lang="en-US" sz="800" dirty="0"/>
              <a:t>;</a:t>
            </a:r>
          </a:p>
          <a:p>
            <a:r>
              <a:rPr lang="en-US" sz="800" dirty="0"/>
              <a:t>Create Statistics </a:t>
            </a:r>
            <a:r>
              <a:rPr lang="en-US" sz="800" dirty="0" err="1"/>
              <a:t>stat_stage_salesdata_Amount</a:t>
            </a:r>
            <a:r>
              <a:rPr lang="en-US" sz="800" dirty="0"/>
              <a:t> on </a:t>
            </a:r>
            <a:r>
              <a:rPr lang="en-US" sz="800" dirty="0" err="1"/>
              <a:t>Sales.Transactions</a:t>
            </a:r>
            <a:r>
              <a:rPr lang="en-US" sz="800" dirty="0"/>
              <a:t> (Amount) with </a:t>
            </a:r>
            <a:r>
              <a:rPr lang="en-US" sz="800" dirty="0" err="1"/>
              <a:t>fullscan</a:t>
            </a:r>
            <a:r>
              <a:rPr lang="en-US" sz="800" dirty="0"/>
              <a:t>;</a:t>
            </a:r>
          </a:p>
          <a:p>
            <a:endParaRPr lang="en-US" sz="800" dirty="0"/>
          </a:p>
        </p:txBody>
      </p:sp>
      <p:cxnSp>
        <p:nvCxnSpPr>
          <p:cNvPr id="6" name="Straight Arrow Connector 5">
            <a:extLst>
              <a:ext uri="{FF2B5EF4-FFF2-40B4-BE49-F238E27FC236}">
                <a16:creationId xmlns:a16="http://schemas.microsoft.com/office/drawing/2014/main" id="{EF90CB13-FA90-484B-AB6E-83B045E8A9F8}"/>
              </a:ext>
              <a:ext uri="{C183D7F6-B498-43B3-948B-1728B52AA6E4}">
                <adec:decorative xmlns:adec="http://schemas.microsoft.com/office/drawing/2017/decorative" val="1"/>
              </a:ext>
            </a:extLst>
          </p:cNvPr>
          <p:cNvCxnSpPr>
            <a:cxnSpLocks/>
            <a:stCxn id="7" idx="2"/>
          </p:cNvCxnSpPr>
          <p:nvPr/>
        </p:nvCxnSpPr>
        <p:spPr>
          <a:xfrm flipH="1">
            <a:off x="2632587" y="1500023"/>
            <a:ext cx="7789594" cy="771232"/>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943F2EDC-C7A9-43F3-B7CE-91A82C5736D9}"/>
              </a:ext>
              <a:ext uri="{C183D7F6-B498-43B3-948B-1728B52AA6E4}">
                <adec:decorative xmlns:adec="http://schemas.microsoft.com/office/drawing/2017/decorative" val="1"/>
              </a:ext>
            </a:extLst>
          </p:cNvPr>
          <p:cNvSpPr/>
          <p:nvPr/>
        </p:nvSpPr>
        <p:spPr>
          <a:xfrm>
            <a:off x="9707352" y="1030171"/>
            <a:ext cx="1429658" cy="469852"/>
          </a:xfrm>
          <a:prstGeom prst="rect">
            <a:avLst/>
          </a:pr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No compression</a:t>
            </a:r>
            <a:endParaRPr lang="en-US" sz="1200" dirty="0"/>
          </a:p>
        </p:txBody>
      </p:sp>
      <p:cxnSp>
        <p:nvCxnSpPr>
          <p:cNvPr id="10" name="Straight Arrow Connector 9">
            <a:extLst>
              <a:ext uri="{FF2B5EF4-FFF2-40B4-BE49-F238E27FC236}">
                <a16:creationId xmlns:a16="http://schemas.microsoft.com/office/drawing/2014/main" id="{ACEB4E82-DA99-4FA8-97AF-E6FF0189DD54}"/>
              </a:ext>
              <a:ext uri="{C183D7F6-B498-43B3-948B-1728B52AA6E4}">
                <adec:decorative xmlns:adec="http://schemas.microsoft.com/office/drawing/2017/decorative" val="1"/>
              </a:ext>
            </a:extLst>
          </p:cNvPr>
          <p:cNvCxnSpPr>
            <a:cxnSpLocks/>
          </p:cNvCxnSpPr>
          <p:nvPr/>
        </p:nvCxnSpPr>
        <p:spPr>
          <a:xfrm flipH="1">
            <a:off x="4226937" y="2663936"/>
            <a:ext cx="6510228" cy="949736"/>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A4861B32-3ECD-429E-8735-24246717DD4C}"/>
              </a:ext>
              <a:ext uri="{C183D7F6-B498-43B3-948B-1728B52AA6E4}">
                <adec:decorative xmlns:adec="http://schemas.microsoft.com/office/drawing/2017/decorative" val="1"/>
              </a:ext>
            </a:extLst>
          </p:cNvPr>
          <p:cNvSpPr/>
          <p:nvPr/>
        </p:nvSpPr>
        <p:spPr>
          <a:xfrm>
            <a:off x="10022336" y="2194084"/>
            <a:ext cx="1429658" cy="469852"/>
          </a:xfrm>
          <a:prstGeom prst="rect">
            <a:avLst/>
          </a:pr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Not necessary if using AAD / Role based access control</a:t>
            </a:r>
            <a:endParaRPr lang="en-US" sz="1200" dirty="0"/>
          </a:p>
        </p:txBody>
      </p:sp>
      <p:cxnSp>
        <p:nvCxnSpPr>
          <p:cNvPr id="12" name="Straight Arrow Connector 11">
            <a:extLst>
              <a:ext uri="{FF2B5EF4-FFF2-40B4-BE49-F238E27FC236}">
                <a16:creationId xmlns:a16="http://schemas.microsoft.com/office/drawing/2014/main" id="{0E0952D4-334A-4FF1-A676-F981E237BCD4}"/>
              </a:ext>
              <a:ext uri="{C183D7F6-B498-43B3-948B-1728B52AA6E4}">
                <adec:decorative xmlns:adec="http://schemas.microsoft.com/office/drawing/2017/decorative" val="1"/>
              </a:ext>
            </a:extLst>
          </p:cNvPr>
          <p:cNvCxnSpPr>
            <a:cxnSpLocks/>
          </p:cNvCxnSpPr>
          <p:nvPr/>
        </p:nvCxnSpPr>
        <p:spPr>
          <a:xfrm flipH="1">
            <a:off x="2256503" y="4015105"/>
            <a:ext cx="8397088" cy="1213201"/>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4AC62BB7-2706-443B-9BC5-EA30297C5CFB}"/>
              </a:ext>
              <a:ext uri="{C183D7F6-B498-43B3-948B-1728B52AA6E4}">
                <adec:decorative xmlns:adec="http://schemas.microsoft.com/office/drawing/2017/decorative" val="1"/>
              </a:ext>
            </a:extLst>
          </p:cNvPr>
          <p:cNvSpPr/>
          <p:nvPr/>
        </p:nvSpPr>
        <p:spPr>
          <a:xfrm>
            <a:off x="9938762" y="3545253"/>
            <a:ext cx="1429658" cy="469852"/>
          </a:xfrm>
          <a:prstGeom prst="rect">
            <a:avLst/>
          </a:pr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CTAS into final table, with compression and distribution</a:t>
            </a:r>
            <a:endParaRPr lang="en-US" sz="1200" dirty="0"/>
          </a:p>
        </p:txBody>
      </p:sp>
      <p:cxnSp>
        <p:nvCxnSpPr>
          <p:cNvPr id="15" name="Straight Arrow Connector 14">
            <a:extLst>
              <a:ext uri="{FF2B5EF4-FFF2-40B4-BE49-F238E27FC236}">
                <a16:creationId xmlns:a16="http://schemas.microsoft.com/office/drawing/2014/main" id="{FB839A96-77C4-4901-B9C9-74760B1D058B}"/>
              </a:ext>
              <a:ext uri="{C183D7F6-B498-43B3-948B-1728B52AA6E4}">
                <adec:decorative xmlns:adec="http://schemas.microsoft.com/office/drawing/2017/decorative" val="1"/>
              </a:ext>
            </a:extLst>
          </p:cNvPr>
          <p:cNvCxnSpPr>
            <a:cxnSpLocks/>
          </p:cNvCxnSpPr>
          <p:nvPr/>
        </p:nvCxnSpPr>
        <p:spPr>
          <a:xfrm flipH="1">
            <a:off x="4748981" y="5095239"/>
            <a:ext cx="5950833" cy="1088123"/>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6C1273C4-6CFF-47F5-82D5-126195D3FCD5}"/>
              </a:ext>
              <a:ext uri="{C183D7F6-B498-43B3-948B-1728B52AA6E4}">
                <adec:decorative xmlns:adec="http://schemas.microsoft.com/office/drawing/2017/decorative" val="1"/>
              </a:ext>
            </a:extLst>
          </p:cNvPr>
          <p:cNvSpPr/>
          <p:nvPr/>
        </p:nvSpPr>
        <p:spPr>
          <a:xfrm>
            <a:off x="9984985" y="4625387"/>
            <a:ext cx="1429658" cy="469852"/>
          </a:xfrm>
          <a:prstGeom prst="rect">
            <a:avLst/>
          </a:pr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Statistics are created</a:t>
            </a:r>
            <a:endParaRPr lang="en-US" sz="1200" dirty="0"/>
          </a:p>
        </p:txBody>
      </p:sp>
    </p:spTree>
    <p:extLst>
      <p:ext uri="{BB962C8B-B14F-4D97-AF65-F5344CB8AC3E}">
        <p14:creationId xmlns:p14="http://schemas.microsoft.com/office/powerpoint/2010/main" val="2536296654"/>
      </p:ext>
    </p:extLst>
  </p:cSld>
  <p:clrMapOvr>
    <a:masterClrMapping/>
  </p:clrMapOvr>
  <p:transition spd="med">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54B388-2259-4F1F-B142-739CBE157B9D}"/>
              </a:ext>
            </a:extLst>
          </p:cNvPr>
          <p:cNvSpPr>
            <a:spLocks noGrp="1"/>
          </p:cNvSpPr>
          <p:nvPr>
            <p:ph type="title"/>
          </p:nvPr>
        </p:nvSpPr>
        <p:spPr/>
        <p:txBody>
          <a:bodyPr/>
          <a:lstStyle/>
          <a:p>
            <a:r>
              <a:rPr lang="en-US" b="1" dirty="0"/>
              <a:t>Topics</a:t>
            </a:r>
          </a:p>
        </p:txBody>
      </p:sp>
      <p:sp>
        <p:nvSpPr>
          <p:cNvPr id="5" name="TextBox 4">
            <a:extLst>
              <a:ext uri="{FF2B5EF4-FFF2-40B4-BE49-F238E27FC236}">
                <a16:creationId xmlns:a16="http://schemas.microsoft.com/office/drawing/2014/main" id="{0E4723E8-1D68-4685-AFD9-A0477FF79717}"/>
              </a:ext>
            </a:extLst>
          </p:cNvPr>
          <p:cNvSpPr txBox="1"/>
          <p:nvPr/>
        </p:nvSpPr>
        <p:spPr>
          <a:xfrm>
            <a:off x="465731" y="1214321"/>
            <a:ext cx="11128042" cy="3539430"/>
          </a:xfrm>
          <a:prstGeom prst="rect">
            <a:avLst/>
          </a:prstGeom>
          <a:noFill/>
        </p:spPr>
        <p:txBody>
          <a:bodyPr wrap="square" rtlCol="0">
            <a:spAutoFit/>
          </a:bodyPr>
          <a:lstStyle/>
          <a:p>
            <a:pPr marL="457200" indent="-457200">
              <a:buFont typeface="Arial" panose="020B0604020202020204" pitchFamily="34" charset="0"/>
              <a:buChar char="•"/>
            </a:pPr>
            <a:r>
              <a:rPr lang="en-US" sz="2800" dirty="0">
                <a:hlinkClick r:id="rId3" action="ppaction://hlinksldjump"/>
              </a:rPr>
              <a:t>Utilizing DataStage</a:t>
            </a:r>
            <a:endParaRPr lang="en-US" sz="2800" dirty="0"/>
          </a:p>
          <a:p>
            <a:pPr marL="457200" indent="-457200">
              <a:buFont typeface="Arial" panose="020B0604020202020204" pitchFamily="34" charset="0"/>
              <a:buChar char="•"/>
            </a:pPr>
            <a:r>
              <a:rPr lang="en-US" sz="2800" dirty="0">
                <a:hlinkClick r:id="rId4" action="ppaction://hlinksldjump"/>
              </a:rPr>
              <a:t>Singleton and Bulk Load Inserts</a:t>
            </a:r>
            <a:endParaRPr lang="en-US" sz="2800" dirty="0"/>
          </a:p>
          <a:p>
            <a:pPr marL="457200" indent="-457200">
              <a:buFont typeface="Arial" panose="020B0604020202020204" pitchFamily="34" charset="0"/>
              <a:buChar char="•"/>
            </a:pPr>
            <a:r>
              <a:rPr lang="en-US" sz="2800" dirty="0">
                <a:hlinkClick r:id="rId5" action="ppaction://hlinksldjump"/>
              </a:rPr>
              <a:t>Insert and Update data within Azure Synapse Analytics with DataStage</a:t>
            </a:r>
            <a:endParaRPr lang="en-US" sz="2800" dirty="0"/>
          </a:p>
          <a:p>
            <a:pPr marL="457200" indent="-457200">
              <a:buFont typeface="Arial" panose="020B0604020202020204" pitchFamily="34" charset="0"/>
              <a:buChar char="•"/>
            </a:pPr>
            <a:r>
              <a:rPr lang="en-US" sz="2800" dirty="0">
                <a:hlinkClick r:id="rId6" action="ppaction://hlinksldjump"/>
              </a:rPr>
              <a:t>Changes to Transformers</a:t>
            </a:r>
            <a:endParaRPr lang="en-US" sz="2800" dirty="0"/>
          </a:p>
          <a:p>
            <a:pPr marL="457200" indent="-457200">
              <a:buFont typeface="Arial" panose="020B0604020202020204" pitchFamily="34" charset="0"/>
              <a:buChar char="•"/>
            </a:pPr>
            <a:r>
              <a:rPr lang="en-US" sz="2800" dirty="0">
                <a:hlinkClick r:id="rId7" action="ppaction://hlinksldjump"/>
              </a:rPr>
              <a:t>Executing Azure Synapse Analytics Stored Procedures with DataStage</a:t>
            </a:r>
            <a:endParaRPr lang="en-US" sz="2800" dirty="0"/>
          </a:p>
          <a:p>
            <a:pPr marL="457200" indent="-457200">
              <a:buFont typeface="Arial" panose="020B0604020202020204" pitchFamily="34" charset="0"/>
              <a:buChar char="•"/>
            </a:pPr>
            <a:r>
              <a:rPr lang="en-US" sz="2800" dirty="0">
                <a:hlinkClick r:id="rId8" action="ppaction://hlinksldjump"/>
              </a:rPr>
              <a:t>Large Data Ingestion in Azure Synapse Strategy</a:t>
            </a:r>
            <a:endParaRPr lang="en-US" sz="2800" dirty="0"/>
          </a:p>
          <a:p>
            <a:pPr marL="457200" indent="-457200">
              <a:buFont typeface="Arial" panose="020B0604020202020204" pitchFamily="34" charset="0"/>
              <a:buChar char="•"/>
            </a:pPr>
            <a:r>
              <a:rPr lang="en-US" sz="2800" dirty="0">
                <a:hlinkClick r:id="rId9" action="ppaction://hlinksldjump"/>
              </a:rPr>
              <a:t>COPY INTO statement sample</a:t>
            </a:r>
            <a:endParaRPr lang="en-US" sz="2800" dirty="0"/>
          </a:p>
          <a:p>
            <a:pPr marL="457200" indent="-457200">
              <a:buFont typeface="Arial" panose="020B0604020202020204" pitchFamily="34" charset="0"/>
              <a:buChar char="•"/>
            </a:pPr>
            <a:endParaRPr lang="en-US" sz="2800" dirty="0"/>
          </a:p>
        </p:txBody>
      </p:sp>
    </p:spTree>
    <p:extLst>
      <p:ext uri="{BB962C8B-B14F-4D97-AF65-F5344CB8AC3E}">
        <p14:creationId xmlns:p14="http://schemas.microsoft.com/office/powerpoint/2010/main" val="1164376503"/>
      </p:ext>
    </p:extLst>
  </p:cSld>
  <p:clrMapOvr>
    <a:masterClrMapping/>
  </p:clrMapOvr>
  <p:transition spd="med">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54B388-2259-4F1F-B142-739CBE157B9D}"/>
              </a:ext>
            </a:extLst>
          </p:cNvPr>
          <p:cNvSpPr>
            <a:spLocks noGrp="1"/>
          </p:cNvSpPr>
          <p:nvPr>
            <p:ph type="title"/>
          </p:nvPr>
        </p:nvSpPr>
        <p:spPr/>
        <p:txBody>
          <a:bodyPr/>
          <a:lstStyle/>
          <a:p>
            <a:r>
              <a:rPr lang="en-US" b="1" dirty="0"/>
              <a:t>Utilizing DataStage</a:t>
            </a:r>
          </a:p>
        </p:txBody>
      </p:sp>
      <p:sp>
        <p:nvSpPr>
          <p:cNvPr id="5" name="TextBox 4">
            <a:extLst>
              <a:ext uri="{FF2B5EF4-FFF2-40B4-BE49-F238E27FC236}">
                <a16:creationId xmlns:a16="http://schemas.microsoft.com/office/drawing/2014/main" id="{0E4723E8-1D68-4685-AFD9-A0477FF79717}"/>
              </a:ext>
            </a:extLst>
          </p:cNvPr>
          <p:cNvSpPr txBox="1"/>
          <p:nvPr/>
        </p:nvSpPr>
        <p:spPr>
          <a:xfrm>
            <a:off x="397491" y="1313976"/>
            <a:ext cx="10629900" cy="3539430"/>
          </a:xfrm>
          <a:prstGeom prst="rect">
            <a:avLst/>
          </a:prstGeom>
          <a:noFill/>
        </p:spPr>
        <p:txBody>
          <a:bodyPr wrap="square" rtlCol="0">
            <a:spAutoFit/>
          </a:bodyPr>
          <a:lstStyle/>
          <a:p>
            <a:pPr marL="457200" indent="-457200">
              <a:buFont typeface="Arial" panose="020B0604020202020204" pitchFamily="34" charset="0"/>
              <a:buChar char="•"/>
            </a:pPr>
            <a:r>
              <a:rPr lang="en-US" sz="2800" dirty="0"/>
              <a:t>A client DataStage application is installed on workstation/laptop  (Designer)</a:t>
            </a:r>
          </a:p>
          <a:p>
            <a:pPr marL="457200" indent="-457200">
              <a:buFont typeface="Arial" panose="020B0604020202020204" pitchFamily="34" charset="0"/>
              <a:buChar char="•"/>
            </a:pPr>
            <a:r>
              <a:rPr lang="en-US" sz="2800" dirty="0"/>
              <a:t>Clicking on the Designer icon opens the DataStage application which requires authentication to the server with name, password and project name</a:t>
            </a:r>
          </a:p>
          <a:p>
            <a:pPr marL="457200" indent="-457200">
              <a:buFont typeface="Arial" panose="020B0604020202020204" pitchFamily="34" charset="0"/>
              <a:buChar char="•"/>
            </a:pPr>
            <a:r>
              <a:rPr lang="en-US" sz="2800" dirty="0"/>
              <a:t>Selection of a job is made from a tree structure on the left showing the jobs and sequences in hierarchical fashion</a:t>
            </a:r>
          </a:p>
          <a:p>
            <a:pPr marL="457200" indent="-457200">
              <a:buFont typeface="Arial" panose="020B0604020202020204" pitchFamily="34" charset="0"/>
              <a:buChar char="•"/>
            </a:pPr>
            <a:endParaRPr lang="en-US" sz="2800" dirty="0"/>
          </a:p>
        </p:txBody>
      </p:sp>
    </p:spTree>
    <p:extLst>
      <p:ext uri="{BB962C8B-B14F-4D97-AF65-F5344CB8AC3E}">
        <p14:creationId xmlns:p14="http://schemas.microsoft.com/office/powerpoint/2010/main" val="337636169"/>
      </p:ext>
    </p:extLst>
  </p:cSld>
  <p:clrMapOvr>
    <a:masterClrMapping/>
  </p:clrMapOvr>
  <p:transition spd="med">
    <p:fade/>
  </p:transition>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AB45A142-4255-493C-8284-5D566C121B1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36884" y="321177"/>
            <a:ext cx="4332307" cy="6179552"/>
          </a:xfrm>
          <a:prstGeom prst="rect">
            <a:avLst/>
          </a:prstGeom>
          <a:solidFill>
            <a:srgbClr val="404040">
              <a:alpha val="89804"/>
            </a:srgbClr>
          </a:solidFill>
          <a:ln w="127000" cap="sq" cmpd="thinThick">
            <a:solidFill>
              <a:srgbClr val="595959">
                <a:alpha val="8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descr="IBM InfoSphere DataStage Logon Screen">
            <a:extLst>
              <a:ext uri="{FF2B5EF4-FFF2-40B4-BE49-F238E27FC236}">
                <a16:creationId xmlns:a16="http://schemas.microsoft.com/office/drawing/2014/main" id="{84668DFE-516D-42B0-8D45-98EE78B71D55}"/>
              </a:ext>
            </a:extLst>
          </p:cNvPr>
          <p:cNvSpPr>
            <a:spLocks noGrp="1"/>
          </p:cNvSpPr>
          <p:nvPr>
            <p:ph type="title"/>
          </p:nvPr>
        </p:nvSpPr>
        <p:spPr>
          <a:xfrm>
            <a:off x="674237" y="914400"/>
            <a:ext cx="3657600" cy="2887579"/>
          </a:xfrm>
        </p:spPr>
        <p:txBody>
          <a:bodyPr vert="horz" lIns="91440" tIns="45720" rIns="91440" bIns="45720" rtlCol="0" anchor="b">
            <a:normAutofit/>
          </a:bodyPr>
          <a:lstStyle/>
          <a:p>
            <a:pPr algn="ctr"/>
            <a:r>
              <a:rPr lang="en-US" dirty="0">
                <a:solidFill>
                  <a:srgbClr val="FFFFFF"/>
                </a:solidFill>
              </a:rPr>
              <a:t>IBM InfoSphere DataStage Logon Screen</a:t>
            </a:r>
            <a:endParaRPr lang="en-US" kern="1200" dirty="0">
              <a:solidFill>
                <a:srgbClr val="FFFFFF"/>
              </a:solidFill>
              <a:latin typeface="+mj-lt"/>
              <a:ea typeface="+mj-ea"/>
              <a:cs typeface="+mj-cs"/>
            </a:endParaRPr>
          </a:p>
        </p:txBody>
      </p:sp>
      <p:cxnSp>
        <p:nvCxnSpPr>
          <p:cNvPr id="18" name="Straight Connector 17">
            <a:extLst>
              <a:ext uri="{FF2B5EF4-FFF2-40B4-BE49-F238E27FC236}">
                <a16:creationId xmlns:a16="http://schemas.microsoft.com/office/drawing/2014/main" id="{38FB9660-F42F-4313-BBC4-47C007FE484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191126" y="3910267"/>
            <a:ext cx="258679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pic>
        <p:nvPicPr>
          <p:cNvPr id="3" name="Picture 2" descr="IBM InfoSphere DataStage Logon Screen">
            <a:extLst>
              <a:ext uri="{FF2B5EF4-FFF2-40B4-BE49-F238E27FC236}">
                <a16:creationId xmlns:a16="http://schemas.microsoft.com/office/drawing/2014/main" id="{B1611910-D870-4F9C-8A88-F1DB5E3979CF}"/>
              </a:ext>
            </a:extLst>
          </p:cNvPr>
          <p:cNvPicPr>
            <a:picLocks noChangeAspect="1"/>
          </p:cNvPicPr>
          <p:nvPr/>
        </p:nvPicPr>
        <p:blipFill>
          <a:blip r:embed="rId3"/>
          <a:stretch>
            <a:fillRect/>
          </a:stretch>
        </p:blipFill>
        <p:spPr>
          <a:xfrm>
            <a:off x="5840354" y="552449"/>
            <a:ext cx="4903846" cy="5360835"/>
          </a:xfrm>
          <a:prstGeom prst="rect">
            <a:avLst/>
          </a:prstGeom>
        </p:spPr>
      </p:pic>
    </p:spTree>
    <p:extLst>
      <p:ext uri="{BB962C8B-B14F-4D97-AF65-F5344CB8AC3E}">
        <p14:creationId xmlns:p14="http://schemas.microsoft.com/office/powerpoint/2010/main" val="3787349062"/>
      </p:ext>
    </p:extLst>
  </p:cSld>
  <p:clrMapOvr>
    <a:masterClrMapping/>
  </p:clrMapOvr>
  <p:transition spd="med">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54B388-2259-4F1F-B142-739CBE157B9D}"/>
              </a:ext>
            </a:extLst>
          </p:cNvPr>
          <p:cNvSpPr>
            <a:spLocks noGrp="1"/>
          </p:cNvSpPr>
          <p:nvPr>
            <p:ph type="title"/>
          </p:nvPr>
        </p:nvSpPr>
        <p:spPr/>
        <p:txBody>
          <a:bodyPr/>
          <a:lstStyle/>
          <a:p>
            <a:r>
              <a:rPr lang="en-US" b="1" dirty="0"/>
              <a:t>DataStage Initial Screen</a:t>
            </a:r>
          </a:p>
        </p:txBody>
      </p:sp>
      <p:pic>
        <p:nvPicPr>
          <p:cNvPr id="3" name="Picture 2" descr="DataStage Initial Screen">
            <a:extLst>
              <a:ext uri="{FF2B5EF4-FFF2-40B4-BE49-F238E27FC236}">
                <a16:creationId xmlns:a16="http://schemas.microsoft.com/office/drawing/2014/main" id="{89C2D331-1A0B-401F-86A4-23185E17D34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82690" y="1120363"/>
            <a:ext cx="8625996" cy="5283424"/>
          </a:xfrm>
          <a:prstGeom prst="rect">
            <a:avLst/>
          </a:prstGeom>
        </p:spPr>
      </p:pic>
    </p:spTree>
    <p:extLst>
      <p:ext uri="{BB962C8B-B14F-4D97-AF65-F5344CB8AC3E}">
        <p14:creationId xmlns:p14="http://schemas.microsoft.com/office/powerpoint/2010/main" val="2402155815"/>
      </p:ext>
    </p:extLst>
  </p:cSld>
  <p:clrMapOvr>
    <a:masterClrMapping/>
  </p:clrMapOvr>
  <p:transition spd="med">
    <p:fade/>
  </p:transition>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B45A142-4255-493C-8284-5D566C121B1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36884" y="321177"/>
            <a:ext cx="4332307" cy="6179552"/>
          </a:xfrm>
          <a:prstGeom prst="rect">
            <a:avLst/>
          </a:prstGeom>
          <a:solidFill>
            <a:srgbClr val="404040">
              <a:alpha val="89804"/>
            </a:srgbClr>
          </a:solidFill>
          <a:ln w="127000" cap="sq" cmpd="thinThick">
            <a:solidFill>
              <a:srgbClr val="595959">
                <a:alpha val="8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descr="Select Job from the Project">
            <a:extLst>
              <a:ext uri="{FF2B5EF4-FFF2-40B4-BE49-F238E27FC236}">
                <a16:creationId xmlns:a16="http://schemas.microsoft.com/office/drawing/2014/main" id="{84668DFE-516D-42B0-8D45-98EE78B71D55}"/>
              </a:ext>
            </a:extLst>
          </p:cNvPr>
          <p:cNvSpPr>
            <a:spLocks noGrp="1"/>
          </p:cNvSpPr>
          <p:nvPr>
            <p:ph type="title"/>
          </p:nvPr>
        </p:nvSpPr>
        <p:spPr>
          <a:xfrm>
            <a:off x="674237" y="914400"/>
            <a:ext cx="3657600" cy="2887579"/>
          </a:xfrm>
        </p:spPr>
        <p:txBody>
          <a:bodyPr vert="horz" lIns="91440" tIns="45720" rIns="91440" bIns="45720" rtlCol="0" anchor="b">
            <a:normAutofit/>
          </a:bodyPr>
          <a:lstStyle/>
          <a:p>
            <a:pPr algn="ctr"/>
            <a:r>
              <a:rPr lang="en-US" kern="1200" dirty="0">
                <a:solidFill>
                  <a:srgbClr val="FFFFFF"/>
                </a:solidFill>
                <a:latin typeface="+mj-lt"/>
                <a:ea typeface="+mj-ea"/>
                <a:cs typeface="+mj-cs"/>
              </a:rPr>
              <a:t>Select Job from the Project</a:t>
            </a:r>
          </a:p>
        </p:txBody>
      </p:sp>
      <p:cxnSp>
        <p:nvCxnSpPr>
          <p:cNvPr id="11" name="Straight Connector 10">
            <a:extLst>
              <a:ext uri="{FF2B5EF4-FFF2-40B4-BE49-F238E27FC236}">
                <a16:creationId xmlns:a16="http://schemas.microsoft.com/office/drawing/2014/main" id="{38FB9660-F42F-4313-BBC4-47C007FE484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191126" y="3910267"/>
            <a:ext cx="258679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pic>
        <p:nvPicPr>
          <p:cNvPr id="3" name="Picture 2" descr="Select Job from the Project">
            <a:extLst>
              <a:ext uri="{FF2B5EF4-FFF2-40B4-BE49-F238E27FC236}">
                <a16:creationId xmlns:a16="http://schemas.microsoft.com/office/drawing/2014/main" id="{2D8BEF54-1FD0-47EC-AC05-DB96A67CC8B8}"/>
              </a:ext>
            </a:extLst>
          </p:cNvPr>
          <p:cNvPicPr>
            <a:picLocks noChangeAspect="1"/>
          </p:cNvPicPr>
          <p:nvPr/>
        </p:nvPicPr>
        <p:blipFill>
          <a:blip r:embed="rId3"/>
          <a:stretch>
            <a:fillRect/>
          </a:stretch>
        </p:blipFill>
        <p:spPr>
          <a:xfrm>
            <a:off x="5623065" y="321177"/>
            <a:ext cx="6082705" cy="5992112"/>
          </a:xfrm>
          <a:prstGeom prst="rect">
            <a:avLst/>
          </a:prstGeom>
        </p:spPr>
      </p:pic>
    </p:spTree>
    <p:extLst>
      <p:ext uri="{BB962C8B-B14F-4D97-AF65-F5344CB8AC3E}">
        <p14:creationId xmlns:p14="http://schemas.microsoft.com/office/powerpoint/2010/main" val="1633562159"/>
      </p:ext>
    </p:extLst>
  </p:cSld>
  <p:clrMapOvr>
    <a:masterClrMapping/>
  </p:clrMapOvr>
  <p:transition spd="med">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54B388-2259-4F1F-B142-739CBE157B9D}"/>
              </a:ext>
            </a:extLst>
          </p:cNvPr>
          <p:cNvSpPr>
            <a:spLocks noGrp="1"/>
          </p:cNvSpPr>
          <p:nvPr>
            <p:ph type="title"/>
          </p:nvPr>
        </p:nvSpPr>
        <p:spPr/>
        <p:txBody>
          <a:bodyPr/>
          <a:lstStyle/>
          <a:p>
            <a:r>
              <a:rPr lang="en-US" b="1" dirty="0"/>
              <a:t>Working with the DataStage palette</a:t>
            </a:r>
          </a:p>
        </p:txBody>
      </p:sp>
      <p:sp>
        <p:nvSpPr>
          <p:cNvPr id="5" name="TextBox 4">
            <a:extLst>
              <a:ext uri="{FF2B5EF4-FFF2-40B4-BE49-F238E27FC236}">
                <a16:creationId xmlns:a16="http://schemas.microsoft.com/office/drawing/2014/main" id="{0E4723E8-1D68-4685-AFD9-A0477FF79717}"/>
              </a:ext>
            </a:extLst>
          </p:cNvPr>
          <p:cNvSpPr txBox="1"/>
          <p:nvPr/>
        </p:nvSpPr>
        <p:spPr>
          <a:xfrm>
            <a:off x="386443" y="1306285"/>
            <a:ext cx="11050814" cy="3539430"/>
          </a:xfrm>
          <a:prstGeom prst="rect">
            <a:avLst/>
          </a:prstGeom>
          <a:noFill/>
        </p:spPr>
        <p:txBody>
          <a:bodyPr wrap="square" rtlCol="0">
            <a:spAutoFit/>
          </a:bodyPr>
          <a:lstStyle/>
          <a:p>
            <a:pPr marL="457200" indent="-457200">
              <a:buFont typeface="Arial" panose="020B0604020202020204" pitchFamily="34" charset="0"/>
              <a:buChar char="•"/>
            </a:pPr>
            <a:r>
              <a:rPr lang="en-US" sz="2800" dirty="0"/>
              <a:t>On the left of the screen there are selections for the </a:t>
            </a:r>
            <a:r>
              <a:rPr lang="en-US" sz="2800" i="1" dirty="0"/>
              <a:t>palette</a:t>
            </a:r>
            <a:r>
              <a:rPr lang="en-US" sz="2800" dirty="0"/>
              <a:t>.</a:t>
            </a:r>
          </a:p>
          <a:p>
            <a:pPr marL="457200" indent="-457200">
              <a:buFont typeface="Arial" panose="020B0604020202020204" pitchFamily="34" charset="0"/>
              <a:buChar char="•"/>
            </a:pPr>
            <a:r>
              <a:rPr lang="en-US" sz="2800" dirty="0"/>
              <a:t>The </a:t>
            </a:r>
            <a:r>
              <a:rPr lang="en-US" sz="2800" i="1" dirty="0"/>
              <a:t>Database</a:t>
            </a:r>
            <a:r>
              <a:rPr lang="en-US" sz="2800" dirty="0"/>
              <a:t> category allows the user to select the </a:t>
            </a:r>
            <a:r>
              <a:rPr lang="en-US" sz="2800" i="1" dirty="0"/>
              <a:t>connectivity</a:t>
            </a:r>
            <a:r>
              <a:rPr lang="en-US" sz="2800" dirty="0"/>
              <a:t> type for this job.</a:t>
            </a:r>
          </a:p>
          <a:p>
            <a:pPr marL="457200" indent="-457200">
              <a:buFont typeface="Arial" panose="020B0604020202020204" pitchFamily="34" charset="0"/>
              <a:buChar char="•"/>
            </a:pPr>
            <a:r>
              <a:rPr lang="en-US" sz="2800" dirty="0"/>
              <a:t>The </a:t>
            </a:r>
            <a:r>
              <a:rPr lang="en-US" sz="2800" i="1" dirty="0"/>
              <a:t>Processing</a:t>
            </a:r>
            <a:r>
              <a:rPr lang="en-US" sz="2800" dirty="0"/>
              <a:t> category allows the user to select the type of processing to occur, i.e. </a:t>
            </a:r>
            <a:r>
              <a:rPr lang="en-US" sz="2800" i="1" dirty="0"/>
              <a:t>transformer</a:t>
            </a:r>
            <a:endParaRPr lang="en-US" sz="2800" dirty="0"/>
          </a:p>
          <a:p>
            <a:pPr marL="457200" indent="-457200">
              <a:buFont typeface="Arial" panose="020B0604020202020204" pitchFamily="34" charset="0"/>
              <a:buChar char="•"/>
            </a:pPr>
            <a:r>
              <a:rPr lang="en-US" sz="2800" dirty="0"/>
              <a:t>The </a:t>
            </a:r>
            <a:r>
              <a:rPr lang="en-US" sz="2800" i="1" dirty="0"/>
              <a:t>File</a:t>
            </a:r>
            <a:r>
              <a:rPr lang="en-US" sz="2800" dirty="0"/>
              <a:t> category allows the user to select a type of target or source file (as opposed to a database) and requires no connectivity information</a:t>
            </a:r>
          </a:p>
          <a:p>
            <a:pPr marL="457200" indent="-457200">
              <a:buFont typeface="Arial" panose="020B0604020202020204" pitchFamily="34" charset="0"/>
              <a:buChar char="•"/>
            </a:pPr>
            <a:endParaRPr lang="en-US" sz="2800" dirty="0"/>
          </a:p>
        </p:txBody>
      </p:sp>
    </p:spTree>
    <p:extLst>
      <p:ext uri="{BB962C8B-B14F-4D97-AF65-F5344CB8AC3E}">
        <p14:creationId xmlns:p14="http://schemas.microsoft.com/office/powerpoint/2010/main" val="305850978"/>
      </p:ext>
    </p:extLst>
  </p:cSld>
  <p:clrMapOvr>
    <a:masterClrMapping/>
  </p:clrMapOvr>
  <p:transition spd="med">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2DD77D9DFE79E48908C7EE63657E27F" ma:contentTypeVersion="4" ma:contentTypeDescription="Create a new document." ma:contentTypeScope="" ma:versionID="7c7a102f53c8ad033f625b4761c20bf5">
  <xsd:schema xmlns:xsd="http://www.w3.org/2001/XMLSchema" xmlns:xs="http://www.w3.org/2001/XMLSchema" xmlns:p="http://schemas.microsoft.com/office/2006/metadata/properties" xmlns:ns2="df2eeb19-b64a-4c9d-a2cb-79b714f6787f" targetNamespace="http://schemas.microsoft.com/office/2006/metadata/properties" ma:root="true" ma:fieldsID="4e5fbf2a61f556c0a8682291ef4a669f" ns2:_="">
    <xsd:import namespace="df2eeb19-b64a-4c9d-a2cb-79b714f6787f"/>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f2eeb19-b64a-4c9d-a2cb-79b714f6787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C814176-3108-44B9-B449-4A780A7FF5A1}"/>
</file>

<file path=customXml/itemProps2.xml><?xml version="1.0" encoding="utf-8"?>
<ds:datastoreItem xmlns:ds="http://schemas.openxmlformats.org/officeDocument/2006/customXml" ds:itemID="{BBD2922F-01A2-4DCD-983B-48455B60728D}">
  <ds:schemaRefs>
    <ds:schemaRef ds:uri="http://purl.org/dc/terms/"/>
    <ds:schemaRef ds:uri="http://www.w3.org/XML/1998/namespace"/>
    <ds:schemaRef ds:uri="http://schemas.microsoft.com/office/2006/documentManagement/types"/>
    <ds:schemaRef ds:uri="df2eeb19-b64a-4c9d-a2cb-79b714f6787f"/>
    <ds:schemaRef ds:uri="http://purl.org/dc/dcmitype/"/>
    <ds:schemaRef ds:uri="http://purl.org/dc/elements/1.1/"/>
    <ds:schemaRef ds:uri="http://schemas.microsoft.com/office/2006/metadata/properties"/>
    <ds:schemaRef ds:uri="http://schemas.microsoft.com/office/infopath/2007/PartnerControls"/>
    <ds:schemaRef ds:uri="http://schemas.openxmlformats.org/package/2006/metadata/core-properties"/>
  </ds:schemaRefs>
</ds:datastoreItem>
</file>

<file path=customXml/itemProps3.xml><?xml version="1.0" encoding="utf-8"?>
<ds:datastoreItem xmlns:ds="http://schemas.openxmlformats.org/officeDocument/2006/customXml" ds:itemID="{6C0E7341-4F32-4EAE-B5A8-59D9551E3AF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632</TotalTime>
  <Words>2869</Words>
  <Application>Microsoft Office PowerPoint</Application>
  <PresentationFormat>Widescreen</PresentationFormat>
  <Paragraphs>282</Paragraphs>
  <Slides>39</Slides>
  <Notes>37</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39</vt:i4>
      </vt:variant>
    </vt:vector>
  </HeadingPairs>
  <TitlesOfParts>
    <vt:vector size="48" baseType="lpstr">
      <vt:lpstr>Arial</vt:lpstr>
      <vt:lpstr>Calibri</vt:lpstr>
      <vt:lpstr>Calibri Light</vt:lpstr>
      <vt:lpstr>Segoe UI</vt:lpstr>
      <vt:lpstr>Segoe UI Light</vt:lpstr>
      <vt:lpstr>Segoe UI Semibold</vt:lpstr>
      <vt:lpstr>Segoe UI Semilight</vt:lpstr>
      <vt:lpstr>Office Theme</vt:lpstr>
      <vt:lpstr>think-cell Slide</vt:lpstr>
      <vt:lpstr>DataStage Configuration Steps</vt:lpstr>
      <vt:lpstr>Credits</vt:lpstr>
      <vt:lpstr>Disclaimer</vt:lpstr>
      <vt:lpstr>Topics</vt:lpstr>
      <vt:lpstr>Utilizing DataStage</vt:lpstr>
      <vt:lpstr>IBM InfoSphere DataStage Logon Screen</vt:lpstr>
      <vt:lpstr>DataStage Initial Screen</vt:lpstr>
      <vt:lpstr>Select Job from the Project</vt:lpstr>
      <vt:lpstr>Working with the DataStage palette</vt:lpstr>
      <vt:lpstr>Sample Netezza Job – Update and Insert</vt:lpstr>
      <vt:lpstr>Selection for Connectivity of Available Sources/Targets</vt:lpstr>
      <vt:lpstr>Singleton and Bulk Load Inserts</vt:lpstr>
      <vt:lpstr>DRS Connection</vt:lpstr>
      <vt:lpstr>Selection of Choices for Processing</vt:lpstr>
      <vt:lpstr>Selection of File Options</vt:lpstr>
      <vt:lpstr>Setup Database Tables for use</vt:lpstr>
      <vt:lpstr>Import Table Selections</vt:lpstr>
      <vt:lpstr>Import each table used</vt:lpstr>
      <vt:lpstr>DataStage ODBC.ini driver parameters</vt:lpstr>
      <vt:lpstr>Converted Sample Job – Update and Insert</vt:lpstr>
      <vt:lpstr>Utilize same method of pulling information</vt:lpstr>
      <vt:lpstr>For updating data, first, ingest into staging table using Bulk Insert.</vt:lpstr>
      <vt:lpstr>Detail example of the Update statement.</vt:lpstr>
      <vt:lpstr>Similar approach to Insert</vt:lpstr>
      <vt:lpstr>Changes to Transformers</vt:lpstr>
      <vt:lpstr>Change Transformer Processor</vt:lpstr>
      <vt:lpstr>Executing Stored Proc on Azure Synapse Analytics</vt:lpstr>
      <vt:lpstr>Stored Procedure to Build Key and Insert</vt:lpstr>
      <vt:lpstr>DataStage – Job to Execute Stored Procedure</vt:lpstr>
      <vt:lpstr>Stored Proc General Setup</vt:lpstr>
      <vt:lpstr>Set Up Syntax for Stored Proc Exec</vt:lpstr>
      <vt:lpstr>Set up "Copy" process Input Properties</vt:lpstr>
      <vt:lpstr>Set up "Copy" Process Output Properties for Stored Proc</vt:lpstr>
      <vt:lpstr>Set up "Copy" process for Output Mapping</vt:lpstr>
      <vt:lpstr>Set up "Copy" process Output Columns</vt:lpstr>
      <vt:lpstr>Large Data Ingestion in Azure Synapse Strategy</vt:lpstr>
      <vt:lpstr>Writing Data Into Azure Storage with DataStage</vt:lpstr>
      <vt:lpstr>Bulk Loading into Azure Synapse with DataStage</vt:lpstr>
      <vt:lpstr>Bulk Loading with COPY INTO stateme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taStage Learnings</dc:title>
  <dc:creator>Mary Long</dc:creator>
  <cp:lastModifiedBy>Oscar Zamora</cp:lastModifiedBy>
  <cp:revision>3</cp:revision>
  <cp:lastPrinted>2020-03-26T16:57:40Z</cp:lastPrinted>
  <dcterms:created xsi:type="dcterms:W3CDTF">2018-09-11T17:59:33Z</dcterms:created>
  <dcterms:modified xsi:type="dcterms:W3CDTF">2020-04-06T13:25: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marylong@microsoft.com</vt:lpwstr>
  </property>
  <property fmtid="{D5CDD505-2E9C-101B-9397-08002B2CF9AE}" pid="5" name="MSIP_Label_f42aa342-8706-4288-bd11-ebb85995028c_SetDate">
    <vt:lpwstr>2018-09-11T18:00:04.3088576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y fmtid="{D5CDD505-2E9C-101B-9397-08002B2CF9AE}" pid="10" name="ContentTypeId">
    <vt:lpwstr>0x010100F2DD77D9DFE79E48908C7EE63657E27F</vt:lpwstr>
  </property>
</Properties>
</file>